
<file path=[Content_Types].xml><?xml version="1.0" encoding="utf-8"?>
<Types xmlns="http://schemas.openxmlformats.org/package/2006/content-types"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1"/>
  </p:notesMasterIdLst>
  <p:sldIdLst>
    <p:sldId id="350" r:id="rId2"/>
    <p:sldId id="417" r:id="rId3"/>
    <p:sldId id="418" r:id="rId4"/>
    <p:sldId id="1131" r:id="rId5"/>
    <p:sldId id="1132" r:id="rId6"/>
    <p:sldId id="1125" r:id="rId7"/>
    <p:sldId id="1126" r:id="rId8"/>
    <p:sldId id="1136" r:id="rId9"/>
    <p:sldId id="1135" r:id="rId10"/>
    <p:sldId id="1134" r:id="rId11"/>
    <p:sldId id="1124" r:id="rId12"/>
    <p:sldId id="1138" r:id="rId13"/>
    <p:sldId id="1139" r:id="rId14"/>
    <p:sldId id="1140" r:id="rId15"/>
    <p:sldId id="1141" r:id="rId16"/>
    <p:sldId id="1144" r:id="rId17"/>
    <p:sldId id="1145" r:id="rId18"/>
    <p:sldId id="1146" r:id="rId19"/>
    <p:sldId id="1137" r:id="rId20"/>
  </p:sldIdLst>
  <p:sldSz cx="9144000" cy="5143500" type="screen16x9"/>
  <p:notesSz cx="6858000" cy="9144000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4D572C5-9EB9-49B4-905B-DEC85910505D}" v="396" dt="2022-10-26T18:46:02.7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89" autoAdjust="0"/>
    <p:restoredTop sz="92899" autoAdjust="0"/>
  </p:normalViewPr>
  <p:slideViewPr>
    <p:cSldViewPr snapToObjects="1">
      <p:cViewPr>
        <p:scale>
          <a:sx n="49" d="100"/>
          <a:sy n="49" d="100"/>
        </p:scale>
        <p:origin x="1776" y="7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ina Ru" userId="a298bcda0a73aae4" providerId="LiveId" clId="{44D572C5-9EB9-49B4-905B-DEC85910505D}"/>
    <pc:docChg chg="undo custSel addSld delSld modSld">
      <pc:chgData name="Stina Ru" userId="a298bcda0a73aae4" providerId="LiveId" clId="{44D572C5-9EB9-49B4-905B-DEC85910505D}" dt="2022-10-26T18:46:23.541" v="489" actId="47"/>
      <pc:docMkLst>
        <pc:docMk/>
      </pc:docMkLst>
      <pc:sldChg chg="del">
        <pc:chgData name="Stina Ru" userId="a298bcda0a73aae4" providerId="LiveId" clId="{44D572C5-9EB9-49B4-905B-DEC85910505D}" dt="2022-10-26T18:42:21.127" v="402" actId="47"/>
        <pc:sldMkLst>
          <pc:docMk/>
          <pc:sldMk cId="3307257813" sldId="413"/>
        </pc:sldMkLst>
      </pc:sldChg>
      <pc:sldChg chg="modSp del mod">
        <pc:chgData name="Stina Ru" userId="a298bcda0a73aae4" providerId="LiveId" clId="{44D572C5-9EB9-49B4-905B-DEC85910505D}" dt="2022-10-26T09:20:26.039" v="400" actId="47"/>
        <pc:sldMkLst>
          <pc:docMk/>
          <pc:sldMk cId="1635737710" sldId="414"/>
        </pc:sldMkLst>
        <pc:spChg chg="mod">
          <ac:chgData name="Stina Ru" userId="a298bcda0a73aae4" providerId="LiveId" clId="{44D572C5-9EB9-49B4-905B-DEC85910505D}" dt="2022-10-25T12:27:47.612" v="72"/>
          <ac:spMkLst>
            <pc:docMk/>
            <pc:sldMk cId="1635737710" sldId="414"/>
            <ac:spMk id="2" creationId="{2E8E55A0-73B3-4565-BA58-ACE5F64229D6}"/>
          </ac:spMkLst>
        </pc:spChg>
      </pc:sldChg>
      <pc:sldChg chg="del">
        <pc:chgData name="Stina Ru" userId="a298bcda0a73aae4" providerId="LiveId" clId="{44D572C5-9EB9-49B4-905B-DEC85910505D}" dt="2022-10-26T09:20:27.548" v="401" actId="47"/>
        <pc:sldMkLst>
          <pc:docMk/>
          <pc:sldMk cId="1205229619" sldId="415"/>
        </pc:sldMkLst>
      </pc:sldChg>
      <pc:sldChg chg="delSp modSp mod delAnim">
        <pc:chgData name="Stina Ru" userId="a298bcda0a73aae4" providerId="LiveId" clId="{44D572C5-9EB9-49B4-905B-DEC85910505D}" dt="2022-10-26T18:45:32.766" v="481" actId="1076"/>
        <pc:sldMkLst>
          <pc:docMk/>
          <pc:sldMk cId="3866589505" sldId="418"/>
        </pc:sldMkLst>
        <pc:spChg chg="del">
          <ac:chgData name="Stina Ru" userId="a298bcda0a73aae4" providerId="LiveId" clId="{44D572C5-9EB9-49B4-905B-DEC85910505D}" dt="2022-10-26T18:45:22.028" v="478" actId="478"/>
          <ac:spMkLst>
            <pc:docMk/>
            <pc:sldMk cId="3866589505" sldId="418"/>
            <ac:spMk id="7" creationId="{0738A9EF-50F4-A005-BC90-A4F7FCFD52AD}"/>
          </ac:spMkLst>
        </pc:spChg>
        <pc:spChg chg="mod">
          <ac:chgData name="Stina Ru" userId="a298bcda0a73aae4" providerId="LiveId" clId="{44D572C5-9EB9-49B4-905B-DEC85910505D}" dt="2022-10-26T18:45:32.766" v="481" actId="1076"/>
          <ac:spMkLst>
            <pc:docMk/>
            <pc:sldMk cId="3866589505" sldId="418"/>
            <ac:spMk id="12" creationId="{13B203F9-1E27-4E57-902E-B40C20ADA7DF}"/>
          </ac:spMkLst>
        </pc:spChg>
        <pc:graphicFrameChg chg="mod">
          <ac:chgData name="Stina Ru" userId="a298bcda0a73aae4" providerId="LiveId" clId="{44D572C5-9EB9-49B4-905B-DEC85910505D}" dt="2022-10-26T18:45:28.685" v="480" actId="1076"/>
          <ac:graphicFrameMkLst>
            <pc:docMk/>
            <pc:sldMk cId="3866589505" sldId="418"/>
            <ac:graphicFrameMk id="2" creationId="{BAC6DE60-4F91-BE04-AA14-D4E84B2FF49A}"/>
          </ac:graphicFrameMkLst>
        </pc:graphicFrameChg>
      </pc:sldChg>
      <pc:sldChg chg="modSp mod addAnim delAnim">
        <pc:chgData name="Stina Ru" userId="a298bcda0a73aae4" providerId="LiveId" clId="{44D572C5-9EB9-49B4-905B-DEC85910505D}" dt="2022-10-26T18:44:23.786" v="468" actId="21"/>
        <pc:sldMkLst>
          <pc:docMk/>
          <pc:sldMk cId="989901367" sldId="1124"/>
        </pc:sldMkLst>
        <pc:spChg chg="mod">
          <ac:chgData name="Stina Ru" userId="a298bcda0a73aae4" providerId="LiveId" clId="{44D572C5-9EB9-49B4-905B-DEC85910505D}" dt="2022-10-26T18:44:23.786" v="468" actId="21"/>
          <ac:spMkLst>
            <pc:docMk/>
            <pc:sldMk cId="989901367" sldId="1124"/>
            <ac:spMk id="7" creationId="{9149A9D2-823C-2959-6654-07D87DE3C271}"/>
          </ac:spMkLst>
        </pc:spChg>
      </pc:sldChg>
      <pc:sldChg chg="modSp mod modAnim">
        <pc:chgData name="Stina Ru" userId="a298bcda0a73aae4" providerId="LiveId" clId="{44D572C5-9EB9-49B4-905B-DEC85910505D}" dt="2022-10-25T12:24:34.413" v="22"/>
        <pc:sldMkLst>
          <pc:docMk/>
          <pc:sldMk cId="4062564188" sldId="1132"/>
        </pc:sldMkLst>
        <pc:spChg chg="mod">
          <ac:chgData name="Stina Ru" userId="a298bcda0a73aae4" providerId="LiveId" clId="{44D572C5-9EB9-49B4-905B-DEC85910505D}" dt="2022-10-25T12:24:10.462" v="18" actId="1076"/>
          <ac:spMkLst>
            <pc:docMk/>
            <pc:sldMk cId="4062564188" sldId="1132"/>
            <ac:spMk id="7" creationId="{9149A9D2-823C-2959-6654-07D87DE3C271}"/>
          </ac:spMkLst>
        </pc:spChg>
      </pc:sldChg>
      <pc:sldChg chg="modSp add mod addAnim delAnim modAnim">
        <pc:chgData name="Stina Ru" userId="a298bcda0a73aae4" providerId="LiveId" clId="{44D572C5-9EB9-49B4-905B-DEC85910505D}" dt="2022-10-26T18:44:54.209" v="476" actId="5793"/>
        <pc:sldMkLst>
          <pc:docMk/>
          <pc:sldMk cId="682686423" sldId="1137"/>
        </pc:sldMkLst>
        <pc:spChg chg="mod">
          <ac:chgData name="Stina Ru" userId="a298bcda0a73aae4" providerId="LiveId" clId="{44D572C5-9EB9-49B4-905B-DEC85910505D}" dt="2022-10-26T18:44:34.857" v="471" actId="1076"/>
          <ac:spMkLst>
            <pc:docMk/>
            <pc:sldMk cId="682686423" sldId="1137"/>
            <ac:spMk id="2" creationId="{2E8E55A0-73B3-4565-BA58-ACE5F64229D6}"/>
          </ac:spMkLst>
        </pc:spChg>
        <pc:spChg chg="mod">
          <ac:chgData name="Stina Ru" userId="a298bcda0a73aae4" providerId="LiveId" clId="{44D572C5-9EB9-49B4-905B-DEC85910505D}" dt="2022-10-26T18:44:54.209" v="476" actId="5793"/>
          <ac:spMkLst>
            <pc:docMk/>
            <pc:sldMk cId="682686423" sldId="1137"/>
            <ac:spMk id="7" creationId="{9149A9D2-823C-2959-6654-07D87DE3C271}"/>
          </ac:spMkLst>
        </pc:spChg>
      </pc:sldChg>
      <pc:sldChg chg="modSp del mod modAnim">
        <pc:chgData name="Stina Ru" userId="a298bcda0a73aae4" providerId="LiveId" clId="{44D572C5-9EB9-49B4-905B-DEC85910505D}" dt="2022-10-26T18:43:16.554" v="445" actId="2696"/>
        <pc:sldMkLst>
          <pc:docMk/>
          <pc:sldMk cId="1739327769" sldId="1137"/>
        </pc:sldMkLst>
        <pc:spChg chg="mod">
          <ac:chgData name="Stina Ru" userId="a298bcda0a73aae4" providerId="LiveId" clId="{44D572C5-9EB9-49B4-905B-DEC85910505D}" dt="2022-10-25T12:39:33.734" v="346" actId="255"/>
          <ac:spMkLst>
            <pc:docMk/>
            <pc:sldMk cId="1739327769" sldId="1137"/>
            <ac:spMk id="7" creationId="{9149A9D2-823C-2959-6654-07D87DE3C271}"/>
          </ac:spMkLst>
        </pc:spChg>
      </pc:sldChg>
      <pc:sldChg chg="modSp">
        <pc:chgData name="Stina Ru" userId="a298bcda0a73aae4" providerId="LiveId" clId="{44D572C5-9EB9-49B4-905B-DEC85910505D}" dt="2022-10-25T12:27:18.920" v="68" actId="113"/>
        <pc:sldMkLst>
          <pc:docMk/>
          <pc:sldMk cId="2403299293" sldId="1140"/>
        </pc:sldMkLst>
        <pc:spChg chg="mod">
          <ac:chgData name="Stina Ru" userId="a298bcda0a73aae4" providerId="LiveId" clId="{44D572C5-9EB9-49B4-905B-DEC85910505D}" dt="2022-10-25T12:27:18.920" v="68" actId="113"/>
          <ac:spMkLst>
            <pc:docMk/>
            <pc:sldMk cId="2403299293" sldId="1140"/>
            <ac:spMk id="7" creationId="{9149A9D2-823C-2959-6654-07D87DE3C271}"/>
          </ac:spMkLst>
        </pc:spChg>
      </pc:sldChg>
      <pc:sldChg chg="modSp modAnim">
        <pc:chgData name="Stina Ru" userId="a298bcda0a73aae4" providerId="LiveId" clId="{44D572C5-9EB9-49B4-905B-DEC85910505D}" dt="2022-10-26T09:19:45.647" v="399" actId="20577"/>
        <pc:sldMkLst>
          <pc:docMk/>
          <pc:sldMk cId="4017673478" sldId="1141"/>
        </pc:sldMkLst>
        <pc:spChg chg="mod">
          <ac:chgData name="Stina Ru" userId="a298bcda0a73aae4" providerId="LiveId" clId="{44D572C5-9EB9-49B4-905B-DEC85910505D}" dt="2022-10-26T09:19:45.647" v="399" actId="20577"/>
          <ac:spMkLst>
            <pc:docMk/>
            <pc:sldMk cId="4017673478" sldId="1141"/>
            <ac:spMk id="7" creationId="{9149A9D2-823C-2959-6654-07D87DE3C271}"/>
          </ac:spMkLst>
        </pc:spChg>
      </pc:sldChg>
      <pc:sldChg chg="modSp del mod">
        <pc:chgData name="Stina Ru" userId="a298bcda0a73aae4" providerId="LiveId" clId="{44D572C5-9EB9-49B4-905B-DEC85910505D}" dt="2022-10-26T18:45:55.906" v="482" actId="2696"/>
        <pc:sldMkLst>
          <pc:docMk/>
          <pc:sldMk cId="525072410" sldId="1143"/>
        </pc:sldMkLst>
        <pc:spChg chg="mod">
          <ac:chgData name="Stina Ru" userId="a298bcda0a73aae4" providerId="LiveId" clId="{44D572C5-9EB9-49B4-905B-DEC85910505D}" dt="2022-10-25T12:43:24.546" v="370" actId="113"/>
          <ac:spMkLst>
            <pc:docMk/>
            <pc:sldMk cId="525072410" sldId="1143"/>
            <ac:spMk id="9" creationId="{28CD78BF-FD21-4273-AC08-8CC747F9071D}"/>
          </ac:spMkLst>
        </pc:spChg>
      </pc:sldChg>
      <pc:sldChg chg="modSp add del mod">
        <pc:chgData name="Stina Ru" userId="a298bcda0a73aae4" providerId="LiveId" clId="{44D572C5-9EB9-49B4-905B-DEC85910505D}" dt="2022-10-26T18:46:23.541" v="489" actId="47"/>
        <pc:sldMkLst>
          <pc:docMk/>
          <pc:sldMk cId="3722128686" sldId="1143"/>
        </pc:sldMkLst>
        <pc:spChg chg="mod">
          <ac:chgData name="Stina Ru" userId="a298bcda0a73aae4" providerId="LiveId" clId="{44D572C5-9EB9-49B4-905B-DEC85910505D}" dt="2022-10-26T18:46:21.327" v="488"/>
          <ac:spMkLst>
            <pc:docMk/>
            <pc:sldMk cId="3722128686" sldId="1143"/>
            <ac:spMk id="2" creationId="{2E8E55A0-73B3-4565-BA58-ACE5F64229D6}"/>
          </ac:spMkLst>
        </pc:spChg>
      </pc:sldChg>
      <pc:sldChg chg="modSp mod modAnim">
        <pc:chgData name="Stina Ru" userId="a298bcda0a73aae4" providerId="LiveId" clId="{44D572C5-9EB9-49B4-905B-DEC85910505D}" dt="2022-10-25T12:43:11.851" v="369" actId="1076"/>
        <pc:sldMkLst>
          <pc:docMk/>
          <pc:sldMk cId="1682144054" sldId="1144"/>
        </pc:sldMkLst>
        <pc:spChg chg="mod">
          <ac:chgData name="Stina Ru" userId="a298bcda0a73aae4" providerId="LiveId" clId="{44D572C5-9EB9-49B4-905B-DEC85910505D}" dt="2022-10-25T12:43:11.851" v="369" actId="1076"/>
          <ac:spMkLst>
            <pc:docMk/>
            <pc:sldMk cId="1682144054" sldId="1144"/>
            <ac:spMk id="9" creationId="{28CD78BF-FD21-4273-AC08-8CC747F9071D}"/>
          </ac:spMkLst>
        </pc:spChg>
      </pc:sldChg>
      <pc:sldChg chg="modSp mod">
        <pc:chgData name="Stina Ru" userId="a298bcda0a73aae4" providerId="LiveId" clId="{44D572C5-9EB9-49B4-905B-DEC85910505D}" dt="2022-10-25T12:27:38.646" v="70" actId="1076"/>
        <pc:sldMkLst>
          <pc:docMk/>
          <pc:sldMk cId="2230897240" sldId="1145"/>
        </pc:sldMkLst>
        <pc:spChg chg="mod">
          <ac:chgData name="Stina Ru" userId="a298bcda0a73aae4" providerId="LiveId" clId="{44D572C5-9EB9-49B4-905B-DEC85910505D}" dt="2022-10-25T12:27:38.646" v="70" actId="1076"/>
          <ac:spMkLst>
            <pc:docMk/>
            <pc:sldMk cId="2230897240" sldId="1145"/>
            <ac:spMk id="2" creationId="{2E8E55A0-73B3-4565-BA58-ACE5F64229D6}"/>
          </ac:spMkLst>
        </pc:spChg>
      </pc:sldChg>
      <pc:sldChg chg="addSp delSp mod">
        <pc:chgData name="Stina Ru" userId="a298bcda0a73aae4" providerId="LiveId" clId="{44D572C5-9EB9-49B4-905B-DEC85910505D}" dt="2022-10-26T18:42:47.290" v="405" actId="22"/>
        <pc:sldMkLst>
          <pc:docMk/>
          <pc:sldMk cId="294796903" sldId="1146"/>
        </pc:sldMkLst>
        <pc:spChg chg="add del">
          <ac:chgData name="Stina Ru" userId="a298bcda0a73aae4" providerId="LiveId" clId="{44D572C5-9EB9-49B4-905B-DEC85910505D}" dt="2022-10-26T18:42:47.290" v="405" actId="22"/>
          <ac:spMkLst>
            <pc:docMk/>
            <pc:sldMk cId="294796903" sldId="1146"/>
            <ac:spMk id="7" creationId="{9E8593D5-2C23-40C4-BA53-64E8703EB16E}"/>
          </ac:spMkLst>
        </pc:spChg>
      </pc:sldChg>
      <pc:sldChg chg="delSp modSp add del mod">
        <pc:chgData name="Stina Ru" userId="a298bcda0a73aae4" providerId="LiveId" clId="{44D572C5-9EB9-49B4-905B-DEC85910505D}" dt="2022-10-26T18:44:57.257" v="477" actId="47"/>
        <pc:sldMkLst>
          <pc:docMk/>
          <pc:sldMk cId="3526386731" sldId="1147"/>
        </pc:sldMkLst>
        <pc:spChg chg="mod">
          <ac:chgData name="Stina Ru" userId="a298bcda0a73aae4" providerId="LiveId" clId="{44D572C5-9EB9-49B4-905B-DEC85910505D}" dt="2022-10-26T18:43:02.562" v="443" actId="6549"/>
          <ac:spMkLst>
            <pc:docMk/>
            <pc:sldMk cId="3526386731" sldId="1147"/>
            <ac:spMk id="2" creationId="{2E8E55A0-73B3-4565-BA58-ACE5F64229D6}"/>
          </ac:spMkLst>
        </pc:spChg>
        <pc:spChg chg="del mod">
          <ac:chgData name="Stina Ru" userId="a298bcda0a73aae4" providerId="LiveId" clId="{44D572C5-9EB9-49B4-905B-DEC85910505D}" dt="2022-10-26T18:43:50.546" v="460"/>
          <ac:spMkLst>
            <pc:docMk/>
            <pc:sldMk cId="3526386731" sldId="1147"/>
            <ac:spMk id="9" creationId="{28CD78BF-FD21-4273-AC08-8CC747F9071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2728AD-B8FF-467B-AF5F-4891412E46D0}" type="datetimeFigureOut">
              <a:rPr lang="de-DE" smtClean="0"/>
              <a:t>26.10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A045E6-D734-4DB2-BEE5-DF972DD20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502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061988-3118-414D-A571-26E5ECCCF0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774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A045E6-D734-4DB2-BEE5-DF972DD20CA2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18826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4230000"/>
            <a:ext cx="7560000" cy="324000"/>
          </a:xfrm>
        </p:spPr>
        <p:txBody>
          <a:bodyPr/>
          <a:lstStyle>
            <a:lvl1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1pPr>
            <a:lvl2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2pPr>
            <a:lvl3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3pPr>
            <a:lvl4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4pPr>
            <a:lvl5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5pPr>
            <a:lvl6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6pPr>
            <a:lvl7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7pPr>
            <a:lvl8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8pPr>
            <a:lvl9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68000" y="4680000"/>
            <a:ext cx="7560000" cy="144000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D81F06-1D47-4C44-8C29-89662B0E16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000" y="3499200"/>
            <a:ext cx="2505600" cy="173898"/>
          </a:xfrm>
          <a:prstGeom prst="rect">
            <a:avLst/>
          </a:prstGeom>
        </p:spPr>
      </p:pic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84C7B36F-18FD-48F5-9A0D-FC40AEE68D0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8182800" cy="3186000"/>
          </a:xfrm>
          <a:custGeom>
            <a:avLst/>
            <a:gdLst>
              <a:gd name="connsiteX0" fmla="*/ 0 w 8182800"/>
              <a:gd name="connsiteY0" fmla="*/ 0 h 3186000"/>
              <a:gd name="connsiteX1" fmla="*/ 8182800 w 8182800"/>
              <a:gd name="connsiteY1" fmla="*/ 0 h 3186000"/>
              <a:gd name="connsiteX2" fmla="*/ 8182800 w 8182800"/>
              <a:gd name="connsiteY2" fmla="*/ 1 h 3186000"/>
              <a:gd name="connsiteX3" fmla="*/ 7225201 w 8182800"/>
              <a:gd name="connsiteY3" fmla="*/ 1 h 3186000"/>
              <a:gd name="connsiteX4" fmla="*/ 7225201 w 8182800"/>
              <a:gd name="connsiteY4" fmla="*/ 1440001 h 3186000"/>
              <a:gd name="connsiteX5" fmla="*/ 8182800 w 8182800"/>
              <a:gd name="connsiteY5" fmla="*/ 1440001 h 3186000"/>
              <a:gd name="connsiteX6" fmla="*/ 8182800 w 8182800"/>
              <a:gd name="connsiteY6" fmla="*/ 3186000 h 3186000"/>
              <a:gd name="connsiteX7" fmla="*/ 0 w 8182800"/>
              <a:gd name="connsiteY7" fmla="*/ 3186000 h 31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82800" h="3186000">
                <a:moveTo>
                  <a:pt x="0" y="0"/>
                </a:moveTo>
                <a:lnTo>
                  <a:pt x="8182800" y="0"/>
                </a:lnTo>
                <a:lnTo>
                  <a:pt x="8182800" y="1"/>
                </a:lnTo>
                <a:lnTo>
                  <a:pt x="7225201" y="1"/>
                </a:lnTo>
                <a:lnTo>
                  <a:pt x="7225201" y="1440001"/>
                </a:lnTo>
                <a:lnTo>
                  <a:pt x="8182800" y="1440001"/>
                </a:lnTo>
                <a:lnTo>
                  <a:pt x="8182800" y="3186000"/>
                </a:lnTo>
                <a:lnTo>
                  <a:pt x="0" y="3186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8E9FB3-DC3C-4E55-9877-2DEEAAB329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5200" y="0"/>
            <a:ext cx="1440362" cy="1440000"/>
          </a:xfrm>
          <a:prstGeom prst="rect">
            <a:avLst/>
          </a:prstGeom>
        </p:spPr>
      </p:pic>
      <p:sp>
        <p:nvSpPr>
          <p:cNvPr id="23" name="Titel 22">
            <a:extLst>
              <a:ext uri="{FF2B5EF4-FFF2-40B4-BE49-F238E27FC236}">
                <a16:creationId xmlns:a16="http://schemas.microsoft.com/office/drawing/2014/main" id="{259FB325-4F00-4E24-9BB5-CBE59A8EE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895200"/>
            <a:ext cx="3527936" cy="324000"/>
          </a:xfrm>
        </p:spPr>
        <p:txBody>
          <a:bodyPr/>
          <a:lstStyle>
            <a:lvl1pPr>
              <a:lnSpc>
                <a:spcPts val="2500"/>
              </a:lnSpc>
              <a:defRPr cap="all" baseline="0"/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A11C8C5-D6EB-4C5D-9539-1ADEFC0908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77199" y="3895200"/>
            <a:ext cx="2505600" cy="324000"/>
          </a:xfrm>
        </p:spPr>
        <p:txBody>
          <a:bodyPr anchor="ctr" anchorCtr="0"/>
          <a:lstStyle>
            <a:lvl1pPr algn="ctr">
              <a:defRPr sz="1050"/>
            </a:lvl1pPr>
          </a:lstStyle>
          <a:p>
            <a:r>
              <a:rPr lang="de-DE" dirty="0"/>
              <a:t>Logo auf Platzhalter ziehen</a:t>
            </a:r>
          </a:p>
        </p:txBody>
      </p:sp>
    </p:spTree>
    <p:extLst>
      <p:ext uri="{BB962C8B-B14F-4D97-AF65-F5344CB8AC3E}">
        <p14:creationId xmlns:p14="http://schemas.microsoft.com/office/powerpoint/2010/main" val="722586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kl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B3784F-BC20-4A45-986C-728B00F59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</p:spTree>
    <p:extLst>
      <p:ext uri="{BB962C8B-B14F-4D97-AF65-F5344CB8AC3E}">
        <p14:creationId xmlns:p14="http://schemas.microsoft.com/office/powerpoint/2010/main" val="4262250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  <p15:guide id="5" pos="2790">
          <p15:clr>
            <a:srgbClr val="FBAE40"/>
          </p15:clr>
        </p15:guide>
        <p15:guide id="6" pos="544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324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4000" y="954000"/>
            <a:ext cx="4536000" cy="3024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1999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3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50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 inkl. Bild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4104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587194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 inkl. Bildunterzeil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20000" y="918000"/>
            <a:ext cx="342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1374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22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80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80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56241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77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 userDrawn="1">
          <p15:clr>
            <a:srgbClr val="FBAE40"/>
          </p15:clr>
        </p15:guide>
        <p15:guide id="5" orient="horz" pos="2564" userDrawn="1">
          <p15:clr>
            <a:srgbClr val="FBAE40"/>
          </p15:clr>
        </p15:guide>
        <p15:guide id="6" orient="horz" pos="15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2 Bilder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40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8701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8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>
          <p15:clr>
            <a:srgbClr val="FBAE40"/>
          </p15:clr>
        </p15:guide>
        <p15:guide id="5" orient="horz" pos="2564">
          <p15:clr>
            <a:srgbClr val="FBAE40"/>
          </p15:clr>
        </p15:guide>
        <p15:guide id="6" orient="horz" pos="15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EIN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2F6D41-300A-44A6-A773-F84C7424C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674647-E98A-4E91-B769-603FBD38F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36340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E7FEC2D-DBFC-481D-89EF-55316F02D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C5583F-31A1-412C-900F-41106AD78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1779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rstell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8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4834" y="-2989"/>
            <a:ext cx="9148810" cy="5148352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9524 w 8155800"/>
              <a:gd name="connsiteY0" fmla="*/ 0 h 6093909"/>
              <a:gd name="connsiteX1" fmla="*/ 6969937 w 8155800"/>
              <a:gd name="connsiteY1" fmla="*/ 7434 h 6093909"/>
              <a:gd name="connsiteX2" fmla="*/ 6973113 w 8155800"/>
              <a:gd name="connsiteY2" fmla="*/ 1731459 h 6093909"/>
              <a:gd name="connsiteX3" fmla="*/ 8154213 w 8155800"/>
              <a:gd name="connsiteY3" fmla="*/ 1731459 h 6093909"/>
              <a:gd name="connsiteX4" fmla="*/ 8155800 w 8155800"/>
              <a:gd name="connsiteY4" fmla="*/ 4046034 h 6093909"/>
              <a:gd name="connsiteX5" fmla="*/ 0 w 8155800"/>
              <a:gd name="connsiteY5" fmla="*/ 6093909 h 6093909"/>
              <a:gd name="connsiteX6" fmla="*/ 9524 w 8155800"/>
              <a:gd name="connsiteY6" fmla="*/ 0 h 6093909"/>
              <a:gd name="connsiteX0" fmla="*/ 9524 w 8165325"/>
              <a:gd name="connsiteY0" fmla="*/ 0 h 6103434"/>
              <a:gd name="connsiteX1" fmla="*/ 6969937 w 8165325"/>
              <a:gd name="connsiteY1" fmla="*/ 7434 h 6103434"/>
              <a:gd name="connsiteX2" fmla="*/ 6973113 w 8165325"/>
              <a:gd name="connsiteY2" fmla="*/ 1731459 h 6103434"/>
              <a:gd name="connsiteX3" fmla="*/ 8154213 w 8165325"/>
              <a:gd name="connsiteY3" fmla="*/ 1731459 h 6103434"/>
              <a:gd name="connsiteX4" fmla="*/ 8165325 w 8165325"/>
              <a:gd name="connsiteY4" fmla="*/ 6103434 h 6103434"/>
              <a:gd name="connsiteX5" fmla="*/ 0 w 8165325"/>
              <a:gd name="connsiteY5" fmla="*/ 6093909 h 6103434"/>
              <a:gd name="connsiteX6" fmla="*/ 9524 w 8165325"/>
              <a:gd name="connsiteY6" fmla="*/ 0 h 6103434"/>
              <a:gd name="connsiteX0" fmla="*/ 9524 w 8694213"/>
              <a:gd name="connsiteY0" fmla="*/ 0 h 6103434"/>
              <a:gd name="connsiteX1" fmla="*/ 6969937 w 8694213"/>
              <a:gd name="connsiteY1" fmla="*/ 7434 h 6103434"/>
              <a:gd name="connsiteX2" fmla="*/ 6973113 w 8694213"/>
              <a:gd name="connsiteY2" fmla="*/ 1731459 h 6103434"/>
              <a:gd name="connsiteX3" fmla="*/ 8694213 w 8694213"/>
              <a:gd name="connsiteY3" fmla="*/ 1731459 h 6103434"/>
              <a:gd name="connsiteX4" fmla="*/ 8165325 w 8694213"/>
              <a:gd name="connsiteY4" fmla="*/ 6103434 h 6103434"/>
              <a:gd name="connsiteX5" fmla="*/ 0 w 8694213"/>
              <a:gd name="connsiteY5" fmla="*/ 6093909 h 6103434"/>
              <a:gd name="connsiteX6" fmla="*/ 9524 w 8694213"/>
              <a:gd name="connsiteY6" fmla="*/ 0 h 6103434"/>
              <a:gd name="connsiteX0" fmla="*/ 9524 w 8891427"/>
              <a:gd name="connsiteY0" fmla="*/ 0 h 6103434"/>
              <a:gd name="connsiteX1" fmla="*/ 6969937 w 8891427"/>
              <a:gd name="connsiteY1" fmla="*/ 7434 h 6103434"/>
              <a:gd name="connsiteX2" fmla="*/ 6973113 w 8891427"/>
              <a:gd name="connsiteY2" fmla="*/ 1731459 h 6103434"/>
              <a:gd name="connsiteX3" fmla="*/ 8694213 w 8891427"/>
              <a:gd name="connsiteY3" fmla="*/ 1731459 h 6103434"/>
              <a:gd name="connsiteX4" fmla="*/ 8889495 w 8891427"/>
              <a:gd name="connsiteY4" fmla="*/ 597833 h 6103434"/>
              <a:gd name="connsiteX5" fmla="*/ 8165325 w 8891427"/>
              <a:gd name="connsiteY5" fmla="*/ 6103434 h 6103434"/>
              <a:gd name="connsiteX6" fmla="*/ 0 w 8891427"/>
              <a:gd name="connsiteY6" fmla="*/ 6093909 h 6103434"/>
              <a:gd name="connsiteX7" fmla="*/ 9524 w 8891427"/>
              <a:gd name="connsiteY7" fmla="*/ 0 h 6103434"/>
              <a:gd name="connsiteX0" fmla="*/ 9524 w 8929879"/>
              <a:gd name="connsiteY0" fmla="*/ 0 h 6103434"/>
              <a:gd name="connsiteX1" fmla="*/ 6969937 w 8929879"/>
              <a:gd name="connsiteY1" fmla="*/ 7434 h 6103434"/>
              <a:gd name="connsiteX2" fmla="*/ 6973113 w 8929879"/>
              <a:gd name="connsiteY2" fmla="*/ 1731459 h 6103434"/>
              <a:gd name="connsiteX3" fmla="*/ 8694213 w 8929879"/>
              <a:gd name="connsiteY3" fmla="*/ 1731459 h 6103434"/>
              <a:gd name="connsiteX4" fmla="*/ 8889495 w 8929879"/>
              <a:gd name="connsiteY4" fmla="*/ 597833 h 6103434"/>
              <a:gd name="connsiteX5" fmla="*/ 8165325 w 8929879"/>
              <a:gd name="connsiteY5" fmla="*/ 6103434 h 6103434"/>
              <a:gd name="connsiteX6" fmla="*/ 0 w 8929879"/>
              <a:gd name="connsiteY6" fmla="*/ 6093909 h 6103434"/>
              <a:gd name="connsiteX7" fmla="*/ 9524 w 8929879"/>
              <a:gd name="connsiteY7" fmla="*/ 0 h 6103434"/>
              <a:gd name="connsiteX0" fmla="*/ 9524 w 8954130"/>
              <a:gd name="connsiteY0" fmla="*/ 0 h 6103434"/>
              <a:gd name="connsiteX1" fmla="*/ 6969937 w 8954130"/>
              <a:gd name="connsiteY1" fmla="*/ 7434 h 6103434"/>
              <a:gd name="connsiteX2" fmla="*/ 6973113 w 8954130"/>
              <a:gd name="connsiteY2" fmla="*/ 1731459 h 6103434"/>
              <a:gd name="connsiteX3" fmla="*/ 8694213 w 8954130"/>
              <a:gd name="connsiteY3" fmla="*/ 1731459 h 6103434"/>
              <a:gd name="connsiteX4" fmla="*/ 8889495 w 8954130"/>
              <a:gd name="connsiteY4" fmla="*/ 597833 h 6103434"/>
              <a:gd name="connsiteX5" fmla="*/ 8165325 w 8954130"/>
              <a:gd name="connsiteY5" fmla="*/ 6103434 h 6103434"/>
              <a:gd name="connsiteX6" fmla="*/ 0 w 8954130"/>
              <a:gd name="connsiteY6" fmla="*/ 6093909 h 6103434"/>
              <a:gd name="connsiteX7" fmla="*/ 9524 w 8954130"/>
              <a:gd name="connsiteY7" fmla="*/ 0 h 6103434"/>
              <a:gd name="connsiteX0" fmla="*/ 9524 w 8889495"/>
              <a:gd name="connsiteY0" fmla="*/ 0 h 6103434"/>
              <a:gd name="connsiteX1" fmla="*/ 6969937 w 8889495"/>
              <a:gd name="connsiteY1" fmla="*/ 7434 h 6103434"/>
              <a:gd name="connsiteX2" fmla="*/ 6973113 w 8889495"/>
              <a:gd name="connsiteY2" fmla="*/ 1731459 h 6103434"/>
              <a:gd name="connsiteX3" fmla="*/ 8694213 w 8889495"/>
              <a:gd name="connsiteY3" fmla="*/ 1731459 h 6103434"/>
              <a:gd name="connsiteX4" fmla="*/ 8889495 w 8889495"/>
              <a:gd name="connsiteY4" fmla="*/ 597833 h 6103434"/>
              <a:gd name="connsiteX5" fmla="*/ 8165325 w 8889495"/>
              <a:gd name="connsiteY5" fmla="*/ 6103434 h 6103434"/>
              <a:gd name="connsiteX6" fmla="*/ 0 w 8889495"/>
              <a:gd name="connsiteY6" fmla="*/ 6093909 h 6103434"/>
              <a:gd name="connsiteX7" fmla="*/ 9524 w 8889495"/>
              <a:gd name="connsiteY7" fmla="*/ 0 h 6103434"/>
              <a:gd name="connsiteX0" fmla="*/ 9524 w 8914544"/>
              <a:gd name="connsiteY0" fmla="*/ 0 h 6103434"/>
              <a:gd name="connsiteX1" fmla="*/ 6969937 w 8914544"/>
              <a:gd name="connsiteY1" fmla="*/ 7434 h 6103434"/>
              <a:gd name="connsiteX2" fmla="*/ 6973113 w 8914544"/>
              <a:gd name="connsiteY2" fmla="*/ 1731459 h 6103434"/>
              <a:gd name="connsiteX3" fmla="*/ 8694213 w 8914544"/>
              <a:gd name="connsiteY3" fmla="*/ 1731459 h 6103434"/>
              <a:gd name="connsiteX4" fmla="*/ 8889495 w 8914544"/>
              <a:gd name="connsiteY4" fmla="*/ 597833 h 6103434"/>
              <a:gd name="connsiteX5" fmla="*/ 8165325 w 8914544"/>
              <a:gd name="connsiteY5" fmla="*/ 6103434 h 6103434"/>
              <a:gd name="connsiteX6" fmla="*/ 0 w 8914544"/>
              <a:gd name="connsiteY6" fmla="*/ 6093909 h 6103434"/>
              <a:gd name="connsiteX7" fmla="*/ 9524 w 8914544"/>
              <a:gd name="connsiteY7" fmla="*/ 0 h 6103434"/>
              <a:gd name="connsiteX0" fmla="*/ 9524 w 8837102"/>
              <a:gd name="connsiteY0" fmla="*/ 0 h 6103434"/>
              <a:gd name="connsiteX1" fmla="*/ 6969937 w 8837102"/>
              <a:gd name="connsiteY1" fmla="*/ 7434 h 6103434"/>
              <a:gd name="connsiteX2" fmla="*/ 6973113 w 8837102"/>
              <a:gd name="connsiteY2" fmla="*/ 1731459 h 6103434"/>
              <a:gd name="connsiteX3" fmla="*/ 8694213 w 8837102"/>
              <a:gd name="connsiteY3" fmla="*/ 1731459 h 6103434"/>
              <a:gd name="connsiteX4" fmla="*/ 8695095 w 8837102"/>
              <a:gd name="connsiteY4" fmla="*/ 29033 h 6103434"/>
              <a:gd name="connsiteX5" fmla="*/ 8165325 w 8837102"/>
              <a:gd name="connsiteY5" fmla="*/ 6103434 h 6103434"/>
              <a:gd name="connsiteX6" fmla="*/ 0 w 8837102"/>
              <a:gd name="connsiteY6" fmla="*/ 6093909 h 6103434"/>
              <a:gd name="connsiteX7" fmla="*/ 9524 w 8837102"/>
              <a:gd name="connsiteY7" fmla="*/ 0 h 6103434"/>
              <a:gd name="connsiteX0" fmla="*/ 9524 w 8970194"/>
              <a:gd name="connsiteY0" fmla="*/ 107230 h 6210664"/>
              <a:gd name="connsiteX1" fmla="*/ 6969937 w 8970194"/>
              <a:gd name="connsiteY1" fmla="*/ 114664 h 6210664"/>
              <a:gd name="connsiteX2" fmla="*/ 6973113 w 8970194"/>
              <a:gd name="connsiteY2" fmla="*/ 1838689 h 6210664"/>
              <a:gd name="connsiteX3" fmla="*/ 8694213 w 8970194"/>
              <a:gd name="connsiteY3" fmla="*/ 1838689 h 6210664"/>
              <a:gd name="connsiteX4" fmla="*/ 8695095 w 8970194"/>
              <a:gd name="connsiteY4" fmla="*/ 136263 h 6210664"/>
              <a:gd name="connsiteX5" fmla="*/ 8165325 w 8970194"/>
              <a:gd name="connsiteY5" fmla="*/ 6210664 h 6210664"/>
              <a:gd name="connsiteX6" fmla="*/ 0 w 8970194"/>
              <a:gd name="connsiteY6" fmla="*/ 6201139 h 6210664"/>
              <a:gd name="connsiteX7" fmla="*/ 9524 w 8970194"/>
              <a:gd name="connsiteY7" fmla="*/ 107230 h 6210664"/>
              <a:gd name="connsiteX0" fmla="*/ 9524 w 8734141"/>
              <a:gd name="connsiteY0" fmla="*/ 157774 h 6261208"/>
              <a:gd name="connsiteX1" fmla="*/ 6969937 w 8734141"/>
              <a:gd name="connsiteY1" fmla="*/ 165208 h 6261208"/>
              <a:gd name="connsiteX2" fmla="*/ 6973113 w 8734141"/>
              <a:gd name="connsiteY2" fmla="*/ 1889233 h 6261208"/>
              <a:gd name="connsiteX3" fmla="*/ 8694213 w 8734141"/>
              <a:gd name="connsiteY3" fmla="*/ 1889233 h 6261208"/>
              <a:gd name="connsiteX4" fmla="*/ 8695095 w 8734141"/>
              <a:gd name="connsiteY4" fmla="*/ 186807 h 6261208"/>
              <a:gd name="connsiteX5" fmla="*/ 8165325 w 8734141"/>
              <a:gd name="connsiteY5" fmla="*/ 6261208 h 6261208"/>
              <a:gd name="connsiteX6" fmla="*/ 0 w 8734141"/>
              <a:gd name="connsiteY6" fmla="*/ 6251683 h 6261208"/>
              <a:gd name="connsiteX7" fmla="*/ 9524 w 8734141"/>
              <a:gd name="connsiteY7" fmla="*/ 157774 h 6261208"/>
              <a:gd name="connsiteX0" fmla="*/ 9524 w 8695095"/>
              <a:gd name="connsiteY0" fmla="*/ 0 h 6103434"/>
              <a:gd name="connsiteX1" fmla="*/ 6969937 w 8695095"/>
              <a:gd name="connsiteY1" fmla="*/ 7434 h 6103434"/>
              <a:gd name="connsiteX2" fmla="*/ 6973113 w 8695095"/>
              <a:gd name="connsiteY2" fmla="*/ 1731459 h 6103434"/>
              <a:gd name="connsiteX3" fmla="*/ 8694213 w 8695095"/>
              <a:gd name="connsiteY3" fmla="*/ 1731459 h 6103434"/>
              <a:gd name="connsiteX4" fmla="*/ 8695095 w 8695095"/>
              <a:gd name="connsiteY4" fmla="*/ 29033 h 6103434"/>
              <a:gd name="connsiteX5" fmla="*/ 8165325 w 8695095"/>
              <a:gd name="connsiteY5" fmla="*/ 6103434 h 6103434"/>
              <a:gd name="connsiteX6" fmla="*/ 0 w 8695095"/>
              <a:gd name="connsiteY6" fmla="*/ 6093909 h 6103434"/>
              <a:gd name="connsiteX7" fmla="*/ 9524 w 8695095"/>
              <a:gd name="connsiteY7" fmla="*/ 0 h 6103434"/>
              <a:gd name="connsiteX0" fmla="*/ 9524 w 8954978"/>
              <a:gd name="connsiteY0" fmla="*/ 0 h 6103434"/>
              <a:gd name="connsiteX1" fmla="*/ 6969937 w 8954978"/>
              <a:gd name="connsiteY1" fmla="*/ 7434 h 6103434"/>
              <a:gd name="connsiteX2" fmla="*/ 6973113 w 8954978"/>
              <a:gd name="connsiteY2" fmla="*/ 1731459 h 6103434"/>
              <a:gd name="connsiteX3" fmla="*/ 8694213 w 8954978"/>
              <a:gd name="connsiteY3" fmla="*/ 1731459 h 6103434"/>
              <a:gd name="connsiteX4" fmla="*/ 8695095 w 8954978"/>
              <a:gd name="connsiteY4" fmla="*/ 29033 h 6103434"/>
              <a:gd name="connsiteX5" fmla="*/ 8947095 w 8954978"/>
              <a:gd name="connsiteY5" fmla="*/ 2318633 h 6103434"/>
              <a:gd name="connsiteX6" fmla="*/ 8165325 w 8954978"/>
              <a:gd name="connsiteY6" fmla="*/ 6103434 h 6103434"/>
              <a:gd name="connsiteX7" fmla="*/ 0 w 8954978"/>
              <a:gd name="connsiteY7" fmla="*/ 6093909 h 6103434"/>
              <a:gd name="connsiteX8" fmla="*/ 9524 w 8954978"/>
              <a:gd name="connsiteY8" fmla="*/ 0 h 6103434"/>
              <a:gd name="connsiteX0" fmla="*/ 9524 w 8947095"/>
              <a:gd name="connsiteY0" fmla="*/ 0 h 6103434"/>
              <a:gd name="connsiteX1" fmla="*/ 6969937 w 8947095"/>
              <a:gd name="connsiteY1" fmla="*/ 7434 h 6103434"/>
              <a:gd name="connsiteX2" fmla="*/ 6973113 w 8947095"/>
              <a:gd name="connsiteY2" fmla="*/ 1731459 h 6103434"/>
              <a:gd name="connsiteX3" fmla="*/ 8694213 w 8947095"/>
              <a:gd name="connsiteY3" fmla="*/ 1731459 h 6103434"/>
              <a:gd name="connsiteX4" fmla="*/ 8695095 w 8947095"/>
              <a:gd name="connsiteY4" fmla="*/ 29033 h 6103434"/>
              <a:gd name="connsiteX5" fmla="*/ 8947095 w 8947095"/>
              <a:gd name="connsiteY5" fmla="*/ 2318633 h 6103434"/>
              <a:gd name="connsiteX6" fmla="*/ 8165325 w 8947095"/>
              <a:gd name="connsiteY6" fmla="*/ 6103434 h 6103434"/>
              <a:gd name="connsiteX7" fmla="*/ 0 w 8947095"/>
              <a:gd name="connsiteY7" fmla="*/ 6093909 h 6103434"/>
              <a:gd name="connsiteX8" fmla="*/ 9524 w 8947095"/>
              <a:gd name="connsiteY8" fmla="*/ 0 h 6103434"/>
              <a:gd name="connsiteX0" fmla="*/ 9524 w 9141495"/>
              <a:gd name="connsiteY0" fmla="*/ 358826 h 6462260"/>
              <a:gd name="connsiteX1" fmla="*/ 6969937 w 9141495"/>
              <a:gd name="connsiteY1" fmla="*/ 366260 h 6462260"/>
              <a:gd name="connsiteX2" fmla="*/ 6973113 w 9141495"/>
              <a:gd name="connsiteY2" fmla="*/ 2090285 h 6462260"/>
              <a:gd name="connsiteX3" fmla="*/ 8694213 w 9141495"/>
              <a:gd name="connsiteY3" fmla="*/ 2090285 h 6462260"/>
              <a:gd name="connsiteX4" fmla="*/ 8695095 w 9141495"/>
              <a:gd name="connsiteY4" fmla="*/ 387859 h 6462260"/>
              <a:gd name="connsiteX5" fmla="*/ 9141495 w 9141495"/>
              <a:gd name="connsiteY5" fmla="*/ 373459 h 6462260"/>
              <a:gd name="connsiteX6" fmla="*/ 8165325 w 9141495"/>
              <a:gd name="connsiteY6" fmla="*/ 6462260 h 6462260"/>
              <a:gd name="connsiteX7" fmla="*/ 0 w 9141495"/>
              <a:gd name="connsiteY7" fmla="*/ 6452735 h 6462260"/>
              <a:gd name="connsiteX8" fmla="*/ 9524 w 9141495"/>
              <a:gd name="connsiteY8" fmla="*/ 358826 h 6462260"/>
              <a:gd name="connsiteX0" fmla="*/ 9524 w 9141495"/>
              <a:gd name="connsiteY0" fmla="*/ 492044 h 6595478"/>
              <a:gd name="connsiteX1" fmla="*/ 6969937 w 9141495"/>
              <a:gd name="connsiteY1" fmla="*/ 499478 h 6595478"/>
              <a:gd name="connsiteX2" fmla="*/ 6973113 w 9141495"/>
              <a:gd name="connsiteY2" fmla="*/ 2223503 h 6595478"/>
              <a:gd name="connsiteX3" fmla="*/ 8694213 w 9141495"/>
              <a:gd name="connsiteY3" fmla="*/ 2223503 h 6595478"/>
              <a:gd name="connsiteX4" fmla="*/ 8695095 w 9141495"/>
              <a:gd name="connsiteY4" fmla="*/ 521077 h 6595478"/>
              <a:gd name="connsiteX5" fmla="*/ 9141495 w 9141495"/>
              <a:gd name="connsiteY5" fmla="*/ 506677 h 6595478"/>
              <a:gd name="connsiteX6" fmla="*/ 8165325 w 9141495"/>
              <a:gd name="connsiteY6" fmla="*/ 6595478 h 6595478"/>
              <a:gd name="connsiteX7" fmla="*/ 0 w 9141495"/>
              <a:gd name="connsiteY7" fmla="*/ 6585953 h 6595478"/>
              <a:gd name="connsiteX8" fmla="*/ 9524 w 9141495"/>
              <a:gd name="connsiteY8" fmla="*/ 492044 h 6595478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5095 w 9141495"/>
              <a:gd name="connsiteY4" fmla="*/ 29033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2714 w 9141495"/>
              <a:gd name="connsiteY4" fmla="*/ 7602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4213 w 9160545"/>
              <a:gd name="connsiteY3" fmla="*/ 1731459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1832 w 9160545"/>
              <a:gd name="connsiteY3" fmla="*/ 1733840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3069"/>
              <a:gd name="connsiteY0" fmla="*/ 0 h 6105816"/>
              <a:gd name="connsiteX1" fmla="*/ 6969937 w 9163069"/>
              <a:gd name="connsiteY1" fmla="*/ 7434 h 6105816"/>
              <a:gd name="connsiteX2" fmla="*/ 6973113 w 9163069"/>
              <a:gd name="connsiteY2" fmla="*/ 1731459 h 6105816"/>
              <a:gd name="connsiteX3" fmla="*/ 8691832 w 9163069"/>
              <a:gd name="connsiteY3" fmla="*/ 1733840 h 6105816"/>
              <a:gd name="connsiteX4" fmla="*/ 8692714 w 9163069"/>
              <a:gd name="connsiteY4" fmla="*/ 7602 h 6105816"/>
              <a:gd name="connsiteX5" fmla="*/ 9160545 w 9163069"/>
              <a:gd name="connsiteY5" fmla="*/ 7489 h 6105816"/>
              <a:gd name="connsiteX6" fmla="*/ 9163069 w 9163069"/>
              <a:gd name="connsiteY6" fmla="*/ 6105816 h 6105816"/>
              <a:gd name="connsiteX7" fmla="*/ 0 w 9163069"/>
              <a:gd name="connsiteY7" fmla="*/ 6093909 h 6105816"/>
              <a:gd name="connsiteX8" fmla="*/ 9524 w 9163069"/>
              <a:gd name="connsiteY8" fmla="*/ 0 h 6105816"/>
              <a:gd name="connsiteX0" fmla="*/ 9524 w 9163069"/>
              <a:gd name="connsiteY0" fmla="*/ 0 h 6166776"/>
              <a:gd name="connsiteX1" fmla="*/ 6969937 w 9163069"/>
              <a:gd name="connsiteY1" fmla="*/ 7434 h 6166776"/>
              <a:gd name="connsiteX2" fmla="*/ 6973113 w 9163069"/>
              <a:gd name="connsiteY2" fmla="*/ 1731459 h 6166776"/>
              <a:gd name="connsiteX3" fmla="*/ 8691832 w 9163069"/>
              <a:gd name="connsiteY3" fmla="*/ 1733840 h 6166776"/>
              <a:gd name="connsiteX4" fmla="*/ 8692714 w 9163069"/>
              <a:gd name="connsiteY4" fmla="*/ 7602 h 6166776"/>
              <a:gd name="connsiteX5" fmla="*/ 9160545 w 9163069"/>
              <a:gd name="connsiteY5" fmla="*/ 7489 h 6166776"/>
              <a:gd name="connsiteX6" fmla="*/ 9163069 w 9163069"/>
              <a:gd name="connsiteY6" fmla="*/ 6166776 h 6166776"/>
              <a:gd name="connsiteX7" fmla="*/ 0 w 9163069"/>
              <a:gd name="connsiteY7" fmla="*/ 6093909 h 6166776"/>
              <a:gd name="connsiteX8" fmla="*/ 9524 w 9163069"/>
              <a:gd name="connsiteY8" fmla="*/ 0 h 6166776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17144 w 4659649"/>
              <a:gd name="connsiteY0" fmla="*/ 0 h 6170109"/>
              <a:gd name="connsiteX1" fmla="*/ 2466517 w 4659649"/>
              <a:gd name="connsiteY1" fmla="*/ 7434 h 6170109"/>
              <a:gd name="connsiteX2" fmla="*/ 2469693 w 4659649"/>
              <a:gd name="connsiteY2" fmla="*/ 1731459 h 6170109"/>
              <a:gd name="connsiteX3" fmla="*/ 4188412 w 4659649"/>
              <a:gd name="connsiteY3" fmla="*/ 1733840 h 6170109"/>
              <a:gd name="connsiteX4" fmla="*/ 4189294 w 4659649"/>
              <a:gd name="connsiteY4" fmla="*/ 7602 h 6170109"/>
              <a:gd name="connsiteX5" fmla="*/ 4657125 w 4659649"/>
              <a:gd name="connsiteY5" fmla="*/ 7489 h 6170109"/>
              <a:gd name="connsiteX6" fmla="*/ 4659649 w 4659649"/>
              <a:gd name="connsiteY6" fmla="*/ 6166776 h 6170109"/>
              <a:gd name="connsiteX7" fmla="*/ 0 w 4659649"/>
              <a:gd name="connsiteY7" fmla="*/ 6170109 h 6170109"/>
              <a:gd name="connsiteX8" fmla="*/ 17144 w 4659649"/>
              <a:gd name="connsiteY8" fmla="*/ 0 h 6170109"/>
              <a:gd name="connsiteX0" fmla="*/ 786764 w 5429269"/>
              <a:gd name="connsiteY0" fmla="*/ 0 h 6695889"/>
              <a:gd name="connsiteX1" fmla="*/ 3236137 w 5429269"/>
              <a:gd name="connsiteY1" fmla="*/ 7434 h 6695889"/>
              <a:gd name="connsiteX2" fmla="*/ 3239313 w 5429269"/>
              <a:gd name="connsiteY2" fmla="*/ 1731459 h 6695889"/>
              <a:gd name="connsiteX3" fmla="*/ 4958032 w 5429269"/>
              <a:gd name="connsiteY3" fmla="*/ 1733840 h 6695889"/>
              <a:gd name="connsiteX4" fmla="*/ 4958914 w 5429269"/>
              <a:gd name="connsiteY4" fmla="*/ 7602 h 6695889"/>
              <a:gd name="connsiteX5" fmla="*/ 5426745 w 5429269"/>
              <a:gd name="connsiteY5" fmla="*/ 7489 h 6695889"/>
              <a:gd name="connsiteX6" fmla="*/ 5429269 w 5429269"/>
              <a:gd name="connsiteY6" fmla="*/ 6166776 h 6695889"/>
              <a:gd name="connsiteX7" fmla="*/ 0 w 5429269"/>
              <a:gd name="connsiteY7" fmla="*/ 6695889 h 6695889"/>
              <a:gd name="connsiteX8" fmla="*/ 786764 w 5429269"/>
              <a:gd name="connsiteY8" fmla="*/ 0 h 669588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15934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86038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0 w 5595005"/>
              <a:gd name="connsiteY0" fmla="*/ 186 h 6863715"/>
              <a:gd name="connsiteX1" fmla="*/ 3401873 w 5595005"/>
              <a:gd name="connsiteY1" fmla="*/ 0 h 6863715"/>
              <a:gd name="connsiteX2" fmla="*/ 3405049 w 5595005"/>
              <a:gd name="connsiteY2" fmla="*/ 1724025 h 6863715"/>
              <a:gd name="connsiteX3" fmla="*/ 5123768 w 5595005"/>
              <a:gd name="connsiteY3" fmla="*/ 1726406 h 6863715"/>
              <a:gd name="connsiteX4" fmla="*/ 5124650 w 5595005"/>
              <a:gd name="connsiteY4" fmla="*/ 168 h 6863715"/>
              <a:gd name="connsiteX5" fmla="*/ 5592481 w 5595005"/>
              <a:gd name="connsiteY5" fmla="*/ 55 h 6863715"/>
              <a:gd name="connsiteX6" fmla="*/ 5595005 w 5595005"/>
              <a:gd name="connsiteY6" fmla="*/ 6860382 h 6863715"/>
              <a:gd name="connsiteX7" fmla="*/ 5716 w 5595005"/>
              <a:gd name="connsiteY7" fmla="*/ 6863715 h 6863715"/>
              <a:gd name="connsiteX8" fmla="*/ 0 w 5595005"/>
              <a:gd name="connsiteY8" fmla="*/ 186 h 6863715"/>
              <a:gd name="connsiteX0" fmla="*/ 1076327 w 5589292"/>
              <a:gd name="connsiteY0" fmla="*/ 186 h 6863715"/>
              <a:gd name="connsiteX1" fmla="*/ 3396160 w 5589292"/>
              <a:gd name="connsiteY1" fmla="*/ 0 h 6863715"/>
              <a:gd name="connsiteX2" fmla="*/ 3399336 w 5589292"/>
              <a:gd name="connsiteY2" fmla="*/ 1724025 h 6863715"/>
              <a:gd name="connsiteX3" fmla="*/ 5118055 w 5589292"/>
              <a:gd name="connsiteY3" fmla="*/ 1726406 h 6863715"/>
              <a:gd name="connsiteX4" fmla="*/ 5118937 w 5589292"/>
              <a:gd name="connsiteY4" fmla="*/ 168 h 6863715"/>
              <a:gd name="connsiteX5" fmla="*/ 5586768 w 5589292"/>
              <a:gd name="connsiteY5" fmla="*/ 55 h 6863715"/>
              <a:gd name="connsiteX6" fmla="*/ 5589292 w 5589292"/>
              <a:gd name="connsiteY6" fmla="*/ 6860382 h 6863715"/>
              <a:gd name="connsiteX7" fmla="*/ 3 w 5589292"/>
              <a:gd name="connsiteY7" fmla="*/ 6863715 h 6863715"/>
              <a:gd name="connsiteX8" fmla="*/ 1076327 w 5589292"/>
              <a:gd name="connsiteY8" fmla="*/ 186 h 6863715"/>
              <a:gd name="connsiteX0" fmla="*/ 0 w 4512965"/>
              <a:gd name="connsiteY0" fmla="*/ 186 h 6860382"/>
              <a:gd name="connsiteX1" fmla="*/ 2319833 w 4512965"/>
              <a:gd name="connsiteY1" fmla="*/ 0 h 6860382"/>
              <a:gd name="connsiteX2" fmla="*/ 2323009 w 4512965"/>
              <a:gd name="connsiteY2" fmla="*/ 1724025 h 6860382"/>
              <a:gd name="connsiteX3" fmla="*/ 4041728 w 4512965"/>
              <a:gd name="connsiteY3" fmla="*/ 1726406 h 6860382"/>
              <a:gd name="connsiteX4" fmla="*/ 4042610 w 4512965"/>
              <a:gd name="connsiteY4" fmla="*/ 168 h 6860382"/>
              <a:gd name="connsiteX5" fmla="*/ 4510441 w 4512965"/>
              <a:gd name="connsiteY5" fmla="*/ 55 h 6860382"/>
              <a:gd name="connsiteX6" fmla="*/ 4512965 w 4512965"/>
              <a:gd name="connsiteY6" fmla="*/ 6860382 h 6860382"/>
              <a:gd name="connsiteX7" fmla="*/ 5716 w 4512965"/>
              <a:gd name="connsiteY7" fmla="*/ 6856095 h 6860382"/>
              <a:gd name="connsiteX8" fmla="*/ 0 w 4512965"/>
              <a:gd name="connsiteY8" fmla="*/ 186 h 6860382"/>
              <a:gd name="connsiteX0" fmla="*/ 0 w 4512965"/>
              <a:gd name="connsiteY0" fmla="*/ 186 h 6871335"/>
              <a:gd name="connsiteX1" fmla="*/ 2319833 w 4512965"/>
              <a:gd name="connsiteY1" fmla="*/ 0 h 6871335"/>
              <a:gd name="connsiteX2" fmla="*/ 2323009 w 4512965"/>
              <a:gd name="connsiteY2" fmla="*/ 1724025 h 6871335"/>
              <a:gd name="connsiteX3" fmla="*/ 4041728 w 4512965"/>
              <a:gd name="connsiteY3" fmla="*/ 1726406 h 6871335"/>
              <a:gd name="connsiteX4" fmla="*/ 4042610 w 4512965"/>
              <a:gd name="connsiteY4" fmla="*/ 168 h 6871335"/>
              <a:gd name="connsiteX5" fmla="*/ 4510441 w 4512965"/>
              <a:gd name="connsiteY5" fmla="*/ 55 h 6871335"/>
              <a:gd name="connsiteX6" fmla="*/ 4512965 w 4512965"/>
              <a:gd name="connsiteY6" fmla="*/ 6860382 h 6871335"/>
              <a:gd name="connsiteX7" fmla="*/ 13336 w 4512965"/>
              <a:gd name="connsiteY7" fmla="*/ 6871335 h 6871335"/>
              <a:gd name="connsiteX8" fmla="*/ 0 w 4512965"/>
              <a:gd name="connsiteY8" fmla="*/ 186 h 687133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92711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0540"/>
              <a:gd name="connsiteX1" fmla="*/ 2319833 w 4512965"/>
              <a:gd name="connsiteY1" fmla="*/ 0 h 6860540"/>
              <a:gd name="connsiteX2" fmla="*/ 2323009 w 4512965"/>
              <a:gd name="connsiteY2" fmla="*/ 1724025 h 6860540"/>
              <a:gd name="connsiteX3" fmla="*/ 4041728 w 4512965"/>
              <a:gd name="connsiteY3" fmla="*/ 1726406 h 6860540"/>
              <a:gd name="connsiteX4" fmla="*/ 4042610 w 4512965"/>
              <a:gd name="connsiteY4" fmla="*/ 168 h 6860540"/>
              <a:gd name="connsiteX5" fmla="*/ 4510441 w 4512965"/>
              <a:gd name="connsiteY5" fmla="*/ 55 h 6860540"/>
              <a:gd name="connsiteX6" fmla="*/ 4512965 w 4512965"/>
              <a:gd name="connsiteY6" fmla="*/ 6860382 h 6860540"/>
              <a:gd name="connsiteX7" fmla="*/ 10161 w 4512965"/>
              <a:gd name="connsiteY7" fmla="*/ 6860540 h 6860540"/>
              <a:gd name="connsiteX8" fmla="*/ 0 w 4512965"/>
              <a:gd name="connsiteY8" fmla="*/ 186 h 6860540"/>
              <a:gd name="connsiteX0" fmla="*/ 5714 w 4502804"/>
              <a:gd name="connsiteY0" fmla="*/ 186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5714 w 4502804"/>
              <a:gd name="connsiteY8" fmla="*/ 186 h 6860540"/>
              <a:gd name="connsiteX0" fmla="*/ 380364 w 4502804"/>
              <a:gd name="connsiteY0" fmla="*/ 238311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380364 w 4502804"/>
              <a:gd name="connsiteY8" fmla="*/ 238311 h 6860540"/>
              <a:gd name="connsiteX0" fmla="*/ 2539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2539 w 4502804"/>
              <a:gd name="connsiteY8" fmla="*/ 0 h 6863529"/>
              <a:gd name="connsiteX0" fmla="*/ 659764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659764 w 4502804"/>
              <a:gd name="connsiteY8" fmla="*/ 0 h 6863529"/>
              <a:gd name="connsiteX0" fmla="*/ 2539 w 3845579"/>
              <a:gd name="connsiteY0" fmla="*/ 0 h 6863529"/>
              <a:gd name="connsiteX1" fmla="*/ 1652447 w 3845579"/>
              <a:gd name="connsiteY1" fmla="*/ 2989 h 6863529"/>
              <a:gd name="connsiteX2" fmla="*/ 1655623 w 3845579"/>
              <a:gd name="connsiteY2" fmla="*/ 1727014 h 6863529"/>
              <a:gd name="connsiteX3" fmla="*/ 3374342 w 3845579"/>
              <a:gd name="connsiteY3" fmla="*/ 1729395 h 6863529"/>
              <a:gd name="connsiteX4" fmla="*/ 3375224 w 3845579"/>
              <a:gd name="connsiteY4" fmla="*/ 3157 h 6863529"/>
              <a:gd name="connsiteX5" fmla="*/ 3843055 w 3845579"/>
              <a:gd name="connsiteY5" fmla="*/ 3044 h 6863529"/>
              <a:gd name="connsiteX6" fmla="*/ 3845579 w 3845579"/>
              <a:gd name="connsiteY6" fmla="*/ 6863371 h 6863529"/>
              <a:gd name="connsiteX7" fmla="*/ 0 w 3845579"/>
              <a:gd name="connsiteY7" fmla="*/ 6863529 h 6863529"/>
              <a:gd name="connsiteX8" fmla="*/ 2539 w 3845579"/>
              <a:gd name="connsiteY8" fmla="*/ 0 h 6863529"/>
              <a:gd name="connsiteX0" fmla="*/ 0 w 9148465"/>
              <a:gd name="connsiteY0" fmla="*/ 0 h 6863529"/>
              <a:gd name="connsiteX1" fmla="*/ 6955333 w 9148465"/>
              <a:gd name="connsiteY1" fmla="*/ 2989 h 6863529"/>
              <a:gd name="connsiteX2" fmla="*/ 6958509 w 9148465"/>
              <a:gd name="connsiteY2" fmla="*/ 1727014 h 6863529"/>
              <a:gd name="connsiteX3" fmla="*/ 8677228 w 9148465"/>
              <a:gd name="connsiteY3" fmla="*/ 1729395 h 6863529"/>
              <a:gd name="connsiteX4" fmla="*/ 8678110 w 9148465"/>
              <a:gd name="connsiteY4" fmla="*/ 3157 h 6863529"/>
              <a:gd name="connsiteX5" fmla="*/ 9145941 w 9148465"/>
              <a:gd name="connsiteY5" fmla="*/ 3044 h 6863529"/>
              <a:gd name="connsiteX6" fmla="*/ 9148465 w 9148465"/>
              <a:gd name="connsiteY6" fmla="*/ 6863371 h 6863529"/>
              <a:gd name="connsiteX7" fmla="*/ 5302886 w 9148465"/>
              <a:gd name="connsiteY7" fmla="*/ 6863529 h 6863529"/>
              <a:gd name="connsiteX8" fmla="*/ 0 w 9148465"/>
              <a:gd name="connsiteY8" fmla="*/ 0 h 6863529"/>
              <a:gd name="connsiteX0" fmla="*/ 2539 w 9151004"/>
              <a:gd name="connsiteY0" fmla="*/ 0 h 6863529"/>
              <a:gd name="connsiteX1" fmla="*/ 6957872 w 9151004"/>
              <a:gd name="connsiteY1" fmla="*/ 2989 h 6863529"/>
              <a:gd name="connsiteX2" fmla="*/ 6961048 w 9151004"/>
              <a:gd name="connsiteY2" fmla="*/ 1727014 h 6863529"/>
              <a:gd name="connsiteX3" fmla="*/ 8679767 w 9151004"/>
              <a:gd name="connsiteY3" fmla="*/ 1729395 h 6863529"/>
              <a:gd name="connsiteX4" fmla="*/ 8680649 w 9151004"/>
              <a:gd name="connsiteY4" fmla="*/ 3157 h 6863529"/>
              <a:gd name="connsiteX5" fmla="*/ 9148480 w 9151004"/>
              <a:gd name="connsiteY5" fmla="*/ 3044 h 6863529"/>
              <a:gd name="connsiteX6" fmla="*/ 9151004 w 9151004"/>
              <a:gd name="connsiteY6" fmla="*/ 6863371 h 6863529"/>
              <a:gd name="connsiteX7" fmla="*/ 0 w 9151004"/>
              <a:gd name="connsiteY7" fmla="*/ 6863529 h 6863529"/>
              <a:gd name="connsiteX8" fmla="*/ 2539 w 9151004"/>
              <a:gd name="connsiteY8" fmla="*/ 0 h 6863529"/>
              <a:gd name="connsiteX0" fmla="*/ 3 w 9148468"/>
              <a:gd name="connsiteY0" fmla="*/ 0 h 6863371"/>
              <a:gd name="connsiteX1" fmla="*/ 6955336 w 9148468"/>
              <a:gd name="connsiteY1" fmla="*/ 2989 h 6863371"/>
              <a:gd name="connsiteX2" fmla="*/ 6958512 w 9148468"/>
              <a:gd name="connsiteY2" fmla="*/ 1727014 h 6863371"/>
              <a:gd name="connsiteX3" fmla="*/ 8677231 w 9148468"/>
              <a:gd name="connsiteY3" fmla="*/ 1729395 h 6863371"/>
              <a:gd name="connsiteX4" fmla="*/ 8678113 w 9148468"/>
              <a:gd name="connsiteY4" fmla="*/ 3157 h 6863371"/>
              <a:gd name="connsiteX5" fmla="*/ 9145944 w 9148468"/>
              <a:gd name="connsiteY5" fmla="*/ 3044 h 6863371"/>
              <a:gd name="connsiteX6" fmla="*/ 9148468 w 9148468"/>
              <a:gd name="connsiteY6" fmla="*/ 6863371 h 6863371"/>
              <a:gd name="connsiteX7" fmla="*/ 906454 w 9148468"/>
              <a:gd name="connsiteY7" fmla="*/ 5397242 h 6863371"/>
              <a:gd name="connsiteX8" fmla="*/ 3 w 9148468"/>
              <a:gd name="connsiteY8" fmla="*/ 0 h 6863371"/>
              <a:gd name="connsiteX0" fmla="*/ 345 w 9148810"/>
              <a:gd name="connsiteY0" fmla="*/ 0 h 6863371"/>
              <a:gd name="connsiteX1" fmla="*/ 6955678 w 9148810"/>
              <a:gd name="connsiteY1" fmla="*/ 2989 h 6863371"/>
              <a:gd name="connsiteX2" fmla="*/ 6958854 w 9148810"/>
              <a:gd name="connsiteY2" fmla="*/ 1727014 h 6863371"/>
              <a:gd name="connsiteX3" fmla="*/ 8677573 w 9148810"/>
              <a:gd name="connsiteY3" fmla="*/ 1729395 h 6863371"/>
              <a:gd name="connsiteX4" fmla="*/ 8678455 w 9148810"/>
              <a:gd name="connsiteY4" fmla="*/ 3157 h 6863371"/>
              <a:gd name="connsiteX5" fmla="*/ 9146286 w 9148810"/>
              <a:gd name="connsiteY5" fmla="*/ 3044 h 6863371"/>
              <a:gd name="connsiteX6" fmla="*/ 9148810 w 9148810"/>
              <a:gd name="connsiteY6" fmla="*/ 6863371 h 6863371"/>
              <a:gd name="connsiteX7" fmla="*/ 3217 w 9148810"/>
              <a:gd name="connsiteY7" fmla="*/ 5148352 h 6863371"/>
              <a:gd name="connsiteX8" fmla="*/ 345 w 9148810"/>
              <a:gd name="connsiteY8" fmla="*/ 0 h 6863371"/>
              <a:gd name="connsiteX0" fmla="*/ 345 w 9146296"/>
              <a:gd name="connsiteY0" fmla="*/ 0 h 5359210"/>
              <a:gd name="connsiteX1" fmla="*/ 6955678 w 9146296"/>
              <a:gd name="connsiteY1" fmla="*/ 2989 h 5359210"/>
              <a:gd name="connsiteX2" fmla="*/ 6958854 w 9146296"/>
              <a:gd name="connsiteY2" fmla="*/ 1727014 h 5359210"/>
              <a:gd name="connsiteX3" fmla="*/ 8677573 w 9146296"/>
              <a:gd name="connsiteY3" fmla="*/ 1729395 h 5359210"/>
              <a:gd name="connsiteX4" fmla="*/ 8678455 w 9146296"/>
              <a:gd name="connsiteY4" fmla="*/ 3157 h 5359210"/>
              <a:gd name="connsiteX5" fmla="*/ 9146286 w 9146296"/>
              <a:gd name="connsiteY5" fmla="*/ 3044 h 5359210"/>
              <a:gd name="connsiteX6" fmla="*/ 9100114 w 9146296"/>
              <a:gd name="connsiteY6" fmla="*/ 5359210 h 5359210"/>
              <a:gd name="connsiteX7" fmla="*/ 3217 w 9146296"/>
              <a:gd name="connsiteY7" fmla="*/ 5148352 h 5359210"/>
              <a:gd name="connsiteX8" fmla="*/ 345 w 9146296"/>
              <a:gd name="connsiteY8" fmla="*/ 0 h 5359210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37373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46898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810" h="5148352">
                <a:moveTo>
                  <a:pt x="345" y="0"/>
                </a:moveTo>
                <a:lnTo>
                  <a:pt x="6955678" y="2989"/>
                </a:lnTo>
                <a:cubicBezTo>
                  <a:pt x="6957530" y="577664"/>
                  <a:pt x="6957002" y="1152339"/>
                  <a:pt x="6958854" y="1727014"/>
                </a:cubicBezTo>
                <a:lnTo>
                  <a:pt x="8677573" y="1729395"/>
                </a:lnTo>
                <a:cubicBezTo>
                  <a:pt x="8677073" y="1154776"/>
                  <a:pt x="8678955" y="577776"/>
                  <a:pt x="8678455" y="3157"/>
                </a:cubicBezTo>
                <a:lnTo>
                  <a:pt x="9146286" y="3044"/>
                </a:lnTo>
                <a:cubicBezTo>
                  <a:pt x="9147127" y="2035820"/>
                  <a:pt x="9147548" y="1716734"/>
                  <a:pt x="9148810" y="5146898"/>
                </a:cubicBezTo>
                <a:lnTo>
                  <a:pt x="3217" y="5148352"/>
                </a:lnTo>
                <a:cubicBezTo>
                  <a:pt x="5122" y="2861567"/>
                  <a:pt x="-1560" y="2286785"/>
                  <a:pt x="34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1115616" y="1995686"/>
            <a:ext cx="5472509" cy="14773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116013" y="3418563"/>
            <a:ext cx="5472112" cy="11525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488" y="-1587"/>
            <a:ext cx="17272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068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756000"/>
            <a:ext cx="8172000" cy="720000"/>
          </a:xfrm>
        </p:spPr>
        <p:txBody>
          <a:bodyPr/>
          <a:lstStyle>
            <a:lvl1pPr>
              <a:lnSpc>
                <a:spcPts val="57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476441"/>
            <a:ext cx="8172000" cy="1439863"/>
          </a:xfrm>
        </p:spPr>
        <p:txBody>
          <a:bodyPr/>
          <a:lstStyle>
            <a:lvl1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1pPr>
            <a:lvl2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2pPr>
            <a:lvl3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3pPr>
            <a:lvl4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4pPr>
            <a:lvl5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5pPr>
            <a:lvl6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6pPr>
            <a:lvl7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7pPr>
            <a:lvl8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8pPr>
            <a:lvl9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ervorhebung</a:t>
            </a:r>
          </a:p>
        </p:txBody>
      </p:sp>
    </p:spTree>
    <p:extLst>
      <p:ext uri="{BB962C8B-B14F-4D97-AF65-F5344CB8AC3E}">
        <p14:creationId xmlns:p14="http://schemas.microsoft.com/office/powerpoint/2010/main" val="2910894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172000" cy="540000"/>
          </a:xfrm>
        </p:spPr>
        <p:txBody>
          <a:bodyPr/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367999"/>
            <a:ext cx="8172000" cy="2916000"/>
          </a:xfrm>
        </p:spPr>
        <p:txBody>
          <a:bodyPr/>
          <a:lstStyle>
            <a:lvl1pPr>
              <a:lnSpc>
                <a:spcPts val="4400"/>
              </a:lnSpc>
              <a:spcAft>
                <a:spcPts val="0"/>
              </a:spcAft>
              <a:defRPr sz="3600" b="0">
                <a:solidFill>
                  <a:schemeClr val="bg1"/>
                </a:solidFill>
              </a:defRPr>
            </a:lvl1pPr>
            <a:lvl2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2pPr>
            <a:lvl3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3pPr>
            <a:lvl4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4pPr>
            <a:lvl5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5pPr>
            <a:lvl6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6pPr>
            <a:lvl7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7pPr>
            <a:lvl8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8pPr>
            <a:lvl9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ervorhebung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7051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 defTabSz="234000">
              <a:tabLst>
                <a:tab pos="234000" algn="l"/>
              </a:tabLst>
              <a:defRPr/>
            </a:lvl2pPr>
            <a:lvl3pPr defTabSz="234000">
              <a:tabLst>
                <a:tab pos="234000" algn="l"/>
              </a:tabLst>
              <a:defRPr/>
            </a:lvl3pPr>
            <a:lvl4pPr defTabSz="234000">
              <a:tabLst>
                <a:tab pos="234000" algn="l"/>
              </a:tabLst>
              <a:defRPr/>
            </a:lvl4pPr>
            <a:lvl5pPr defTabSz="234000">
              <a:tabLst>
                <a:tab pos="234000" algn="l"/>
              </a:tabLst>
              <a:defRPr/>
            </a:lvl5pPr>
            <a:lvl6pPr marL="0" indent="0" defTabSz="234000">
              <a:buFont typeface="+mj-lt"/>
              <a:buNone/>
              <a:tabLst>
                <a:tab pos="234000" algn="l"/>
              </a:tabLst>
              <a:defRPr/>
            </a:lvl6pPr>
            <a:lvl7pPr defTabSz="234000">
              <a:tabLst>
                <a:tab pos="234000" algn="l"/>
              </a:tabLst>
              <a:defRPr/>
            </a:lvl7pPr>
            <a:lvl8pPr defTabSz="234000">
              <a:tabLst>
                <a:tab pos="234000" algn="l"/>
              </a:tabLst>
              <a:defRPr/>
            </a:lvl8pPr>
            <a:lvl9pPr defTabSz="234000">
              <a:tabLst>
                <a:tab pos="234000" algn="l"/>
              </a:tabLst>
              <a:defRPr/>
            </a:lvl9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0586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F5A8BB0B-4BD0-4791-8A9B-89C9D0000E3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68000" y="918000"/>
            <a:ext cx="8172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 dirty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4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9031" y="405427"/>
            <a:ext cx="7560000" cy="46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 dirty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AA78F89-2ACB-412B-A15E-E0257394F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5238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53BA0682-B47F-4367-A3B8-D32510070C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21886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8A034563-AB29-4F37-B5BB-3345653239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8534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0424F7CF-E57C-464B-8B50-5B9AC8DA95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5182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710B0DF4-ED82-43E1-BDB1-7320C123D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25238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71EE452-5FE7-40D2-B9E1-D5D45EDB5AB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021886" y="28423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D276B3D8-1DDB-4E7B-9F3D-9878674761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18534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4" name="Bildplatzhalter 6">
            <a:extLst>
              <a:ext uri="{FF2B5EF4-FFF2-40B4-BE49-F238E27FC236}">
                <a16:creationId xmlns:a16="http://schemas.microsoft.com/office/drawing/2014/main" id="{07C48AA0-BED2-43CB-AB9B-1BA883F1149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609555" y="28252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FDB2DC1-8B4F-4765-964F-31538821C2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51725" y="1060450"/>
            <a:ext cx="1584325" cy="32067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8131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9144000" cy="514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Vollbild durch klicken einfügen.</a:t>
            </a:r>
          </a:p>
        </p:txBody>
      </p:sp>
    </p:spTree>
    <p:extLst>
      <p:ext uri="{BB962C8B-B14F-4D97-AF65-F5344CB8AC3E}">
        <p14:creationId xmlns:p14="http://schemas.microsoft.com/office/powerpoint/2010/main" val="3911177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052000" y="468000"/>
            <a:ext cx="5040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51999" y="3952800"/>
            <a:ext cx="5040000" cy="32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325704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92" userDrawn="1">
          <p15:clr>
            <a:srgbClr val="FBAE40"/>
          </p15:clr>
        </p15:guide>
        <p15:guide id="2" pos="4468" userDrawn="1">
          <p15:clr>
            <a:srgbClr val="FBAE40"/>
          </p15:clr>
        </p15:guide>
        <p15:guide id="3" orient="horz" pos="291" userDrawn="1">
          <p15:clr>
            <a:srgbClr val="FBAE40"/>
          </p15:clr>
        </p15:guide>
        <p15:guide id="4" orient="horz" pos="24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</a:t>
            </a:r>
            <a:r>
              <a:rPr lang="de-DE" dirty="0" err="1"/>
              <a:t>Bildunterzeile</a:t>
            </a:r>
            <a:r>
              <a:rPr lang="de-DE" dirty="0"/>
              <a:t>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</a:t>
            </a:r>
            <a:r>
              <a:rPr lang="de-DE" dirty="0" err="1"/>
              <a:t>Bildunterzeile</a:t>
            </a:r>
            <a:r>
              <a:rPr lang="de-DE" dirty="0"/>
              <a:t> // für weitere Ebenen (Text)  &gt;&gt; Menü &gt; Start &gt; Absatz &gt; Listenebene erhöh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22643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3" userDrawn="1">
          <p15:clr>
            <a:srgbClr val="FBAE40"/>
          </p15:clr>
        </p15:guide>
        <p15:guide id="3" orient="horz" pos="291">
          <p15:clr>
            <a:srgbClr val="FBAE40"/>
          </p15:clr>
        </p15:guide>
        <p15:guide id="4" orient="horz" pos="1963" userDrawn="1">
          <p15:clr>
            <a:srgbClr val="FBAE40"/>
          </p15:clr>
        </p15:guide>
        <p15:guide id="5" pos="279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68000" y="396000"/>
            <a:ext cx="7560000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KAPITEL | CHART-HEADLINE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468000" y="918000"/>
            <a:ext cx="7560000" cy="33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(Text und Aufzählung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360000" y="5524114"/>
            <a:ext cx="4284008" cy="1799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720000" y="4752000"/>
            <a:ext cx="6300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324000" y="4752000"/>
            <a:ext cx="252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88000" y="-468000"/>
            <a:ext cx="13284000" cy="6083999"/>
            <a:chOff x="-2088000" y="-468000"/>
            <a:chExt cx="13284000" cy="6083999"/>
          </a:xfrm>
        </p:grpSpPr>
        <p:grpSp>
          <p:nvGrpSpPr>
            <p:cNvPr id="29" name="Listenebenen"/>
            <p:cNvGrpSpPr/>
            <p:nvPr userDrawn="1"/>
          </p:nvGrpSpPr>
          <p:grpSpPr>
            <a:xfrm>
              <a:off x="-2088000" y="1368000"/>
              <a:ext cx="1980000" cy="2319874"/>
              <a:chOff x="-2088000" y="1368000"/>
              <a:chExt cx="1980000" cy="2319874"/>
            </a:xfrm>
          </p:grpSpPr>
          <p:sp>
            <p:nvSpPr>
              <p:cNvPr id="12" name="Text // Listenebene erhöhen"/>
              <p:cNvSpPr txBox="1"/>
              <p:nvPr userDrawn="1"/>
            </p:nvSpPr>
            <p:spPr>
              <a:xfrm>
                <a:off x="-2016000" y="2787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13" name="Text // Listenebene verringern"/>
              <p:cNvSpPr txBox="1"/>
              <p:nvPr userDrawn="1"/>
            </p:nvSpPr>
            <p:spPr>
              <a:xfrm>
                <a:off x="-2016000" y="3291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5" name="Listenebenen"/>
              <p:cNvSpPr txBox="1"/>
              <p:nvPr userDrawn="1"/>
            </p:nvSpPr>
            <p:spPr>
              <a:xfrm rot="10800000" flipH="1" flipV="1">
                <a:off x="-2088000" y="1368000"/>
                <a:ext cx="1980000" cy="8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Listen erstellen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Wechseln Sie die Text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im Menü über: </a:t>
                </a:r>
                <a:b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</a:b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Start &gt; Absatz &gt; Listenebene erhöhen/verringern</a:t>
                </a:r>
              </a:p>
            </p:txBody>
          </p:sp>
          <p:pic>
            <p:nvPicPr>
              <p:cNvPr id="27" name="Bild // Listenebene verringern"/>
              <p:cNvPicPr>
                <a:picLocks noChangeAspect="1"/>
              </p:cNvPicPr>
              <p:nvPr userDrawn="1"/>
            </p:nvPicPr>
            <p:blipFill>
              <a:blip r:embed="rId20"/>
              <a:stretch>
                <a:fillRect/>
              </a:stretch>
            </p:blipFill>
            <p:spPr>
              <a:xfrm>
                <a:off x="-963360" y="3291874"/>
                <a:ext cx="855360" cy="396000"/>
              </a:xfrm>
              <a:prstGeom prst="rect">
                <a:avLst/>
              </a:prstGeom>
            </p:spPr>
          </p:pic>
          <p:pic>
            <p:nvPicPr>
              <p:cNvPr id="28" name="Bild // Listenebene erhöhen"/>
              <p:cNvPicPr>
                <a:picLocks noChangeAspect="1"/>
              </p:cNvPicPr>
              <p:nvPr userDrawn="1"/>
            </p:nvPicPr>
            <p:blipFill>
              <a:blip r:embed="rId21"/>
              <a:stretch>
                <a:fillRect/>
              </a:stretch>
            </p:blipFill>
            <p:spPr>
              <a:xfrm>
                <a:off x="-963360" y="2787874"/>
                <a:ext cx="855360" cy="396000"/>
              </a:xfrm>
              <a:prstGeom prst="rect">
                <a:avLst/>
              </a:prstGeom>
            </p:spPr>
          </p:pic>
        </p:grpSp>
        <p:sp>
          <p:nvSpPr>
            <p:cNvPr id="14" name="Zurücksetzen"/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ü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2283786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</p:grp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61B1FA0-8233-4248-B899-BF9702E3E986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89C4D98-9606-4382-895C-2F9999CA3289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1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0" r:id="rId4"/>
    <p:sldLayoutId id="2147483667" r:id="rId5"/>
    <p:sldLayoutId id="2147483669" r:id="rId6"/>
    <p:sldLayoutId id="2147483658" r:id="rId7"/>
    <p:sldLayoutId id="2147483659" r:id="rId8"/>
    <p:sldLayoutId id="2147483660" r:id="rId9"/>
    <p:sldLayoutId id="2147483661" r:id="rId10"/>
    <p:sldLayoutId id="2147483663" r:id="rId11"/>
    <p:sldLayoutId id="2147483662" r:id="rId12"/>
    <p:sldLayoutId id="2147483664" r:id="rId13"/>
    <p:sldLayoutId id="2147483665" r:id="rId14"/>
    <p:sldLayoutId id="2147483666" r:id="rId15"/>
    <p:sldLayoutId id="2147483654" r:id="rId16"/>
    <p:sldLayoutId id="2147483655" r:id="rId17"/>
    <p:sldLayoutId id="2147483668" r:id="rId18"/>
  </p:sldLayoutIdLst>
  <p:hf hdr="0" dt="0"/>
  <p:txStyles>
    <p:title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700" b="0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1200"/>
        </a:spcAft>
        <a:buSzPct val="75000"/>
        <a:buFont typeface="Arial" panose="020B0604020202020204" pitchFamily="34" charset="0"/>
        <a:buNone/>
        <a:defRPr sz="1500" b="1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234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bg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468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702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2" userDrawn="1">
          <p15:clr>
            <a:srgbClr val="5ACBF0"/>
          </p15:clr>
        </p15:guide>
        <p15:guide id="2" pos="5059" userDrawn="1">
          <p15:clr>
            <a:srgbClr val="5ACBF0"/>
          </p15:clr>
        </p15:guide>
        <p15:guide id="3" orient="horz" pos="245" userDrawn="1">
          <p15:clr>
            <a:srgbClr val="5ACBF0"/>
          </p15:clr>
        </p15:guide>
        <p15:guide id="4" orient="horz" pos="2700" userDrawn="1">
          <p15:clr>
            <a:srgbClr val="5ACBF0"/>
          </p15:clr>
        </p15:guide>
        <p15:guide id="5" pos="544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draußen, Gebäude, Wasser, groß enthält.&#10;&#10;Automatisch generierte Beschreibung">
            <a:extLst>
              <a:ext uri="{FF2B5EF4-FFF2-40B4-BE49-F238E27FC236}">
                <a16:creationId xmlns:a16="http://schemas.microsoft.com/office/drawing/2014/main" id="{9630A345-5842-47A2-BA27-F0F55B82C2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4" b="2361"/>
          <a:stretch/>
        </p:blipFill>
        <p:spPr>
          <a:xfrm>
            <a:off x="-4834" y="-1"/>
            <a:ext cx="9148810" cy="5143501"/>
          </a:xfr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71600" y="2506395"/>
            <a:ext cx="5976664" cy="1477327"/>
          </a:xfrm>
        </p:spPr>
        <p:txBody>
          <a:bodyPr anchor="t">
            <a:normAutofit/>
          </a:bodyPr>
          <a:lstStyle/>
          <a:p>
            <a:r>
              <a:rPr lang="de-DE" sz="3300" dirty="0"/>
              <a:t>Tutorium zur VL. Sitzung (1) und (2)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116013" y="3418563"/>
            <a:ext cx="5472112" cy="115252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 marL="447675" indent="-28575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62547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3pPr>
            <a:lvl4pPr marL="901700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4pPr>
            <a:lvl5pPr marL="116522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r>
              <a:rPr lang="de-DE" sz="2000" dirty="0"/>
              <a:t>Sozialstruktur und sozialer Wandel</a:t>
            </a: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09833B-99C6-4DE4-8502-C3CF07774921}"/>
              </a:ext>
            </a:extLst>
          </p:cNvPr>
          <p:cNvSpPr/>
          <p:nvPr/>
        </p:nvSpPr>
        <p:spPr>
          <a:xfrm>
            <a:off x="110846" y="169835"/>
            <a:ext cx="3741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chemeClr val="tx2"/>
                </a:solidFill>
                <a:latin typeface="Calibri-Bold"/>
              </a:rPr>
              <a:t>FAKULTÄT FÜR SOZIALWISSENSCHAFT</a:t>
            </a:r>
            <a:endParaRPr lang="de-DE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73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1736"/>
    </mc:Choice>
    <mc:Fallback xmlns="">
      <p:transition spd="slow" advTm="51736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462" y="283500"/>
            <a:ext cx="8784520" cy="468000"/>
          </a:xfrm>
        </p:spPr>
        <p:txBody>
          <a:bodyPr/>
          <a:lstStyle/>
          <a:p>
            <a:r>
              <a:rPr lang="de-DE" sz="2800" dirty="0"/>
              <a:t>Räumliche Verortung</a:t>
            </a:r>
            <a:r>
              <a:rPr lang="de-DE" sz="2800" b="0" dirty="0"/>
              <a:t>: Moderne</a:t>
            </a:r>
            <a:br>
              <a:rPr lang="de-DE" sz="2800" b="0" dirty="0"/>
            </a:b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0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149A9D2-823C-2959-6654-07D87DE3C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9172" y="845802"/>
            <a:ext cx="8714827" cy="3744416"/>
          </a:xfrm>
        </p:spPr>
        <p:txBody>
          <a:bodyPr/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b="0" dirty="0">
                <a:sym typeface="Wingdings" panose="05000000000000000000" pitchFamily="2" charset="2"/>
              </a:rPr>
              <a:t>Ganze Analyse zu </a:t>
            </a:r>
            <a:r>
              <a:rPr lang="de-DE" sz="2000" dirty="0">
                <a:sym typeface="Wingdings" panose="05000000000000000000" pitchFamily="2" charset="2"/>
              </a:rPr>
              <a:t>Europa</a:t>
            </a:r>
            <a:r>
              <a:rPr lang="de-DE" sz="2000" b="0" dirty="0">
                <a:sym typeface="Wingdings" panose="05000000000000000000" pitchFamily="2" charset="2"/>
              </a:rPr>
              <a:t> (eurozentrische Betrachtungsweise)</a:t>
            </a:r>
            <a:endParaRPr lang="de-DE" sz="2000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  <a:spcAft>
                <a:spcPts val="800"/>
              </a:spcAft>
            </a:pPr>
            <a:r>
              <a:rPr lang="de-DE" sz="2000" b="0" dirty="0"/>
              <a:t>Frühmoderne </a:t>
            </a:r>
          </a:p>
          <a:p>
            <a:pPr>
              <a:lnSpc>
                <a:spcPct val="200000"/>
              </a:lnSpc>
              <a:spcAft>
                <a:spcPts val="800"/>
              </a:spcAft>
            </a:pPr>
            <a:r>
              <a:rPr lang="de-DE" sz="2000" b="0" dirty="0"/>
              <a:t>Hochmoderne</a:t>
            </a:r>
          </a:p>
          <a:p>
            <a:pPr>
              <a:lnSpc>
                <a:spcPct val="200000"/>
              </a:lnSpc>
              <a:spcAft>
                <a:spcPts val="800"/>
              </a:spcAft>
            </a:pPr>
            <a:r>
              <a:rPr lang="de-DE" sz="2000" b="0" dirty="0"/>
              <a:t>Spätmoderne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à"/>
            </a:pPr>
            <a:r>
              <a:rPr lang="de-DE" sz="2000" b="0" dirty="0">
                <a:sym typeface="Wingdings" panose="05000000000000000000" pitchFamily="2" charset="2"/>
              </a:rPr>
              <a:t>Fazit: Durch Moderne kommt es zur </a:t>
            </a:r>
            <a:r>
              <a:rPr lang="de-DE" sz="2000" dirty="0">
                <a:sym typeface="Wingdings" panose="05000000000000000000" pitchFamily="2" charset="2"/>
              </a:rPr>
              <a:t>Ausdehnung von Wertstrukturen und Institutionen</a:t>
            </a:r>
            <a:r>
              <a:rPr lang="de-DE" sz="2000" b="0" dirty="0">
                <a:sym typeface="Wingdings" panose="05000000000000000000" pitchFamily="2" charset="2"/>
              </a:rPr>
              <a:t> </a:t>
            </a:r>
            <a:r>
              <a:rPr lang="de-DE" sz="2000" dirty="0">
                <a:sym typeface="Wingdings" panose="05000000000000000000" pitchFamily="2" charset="2"/>
              </a:rPr>
              <a:t>von Europa </a:t>
            </a:r>
            <a:r>
              <a:rPr lang="de-DE" sz="2000" b="0" dirty="0">
                <a:sym typeface="Wingdings" panose="05000000000000000000" pitchFamily="2" charset="2"/>
              </a:rPr>
              <a:t>aus </a:t>
            </a:r>
            <a:r>
              <a:rPr lang="de-DE" sz="2000" dirty="0">
                <a:sym typeface="Wingdings" panose="05000000000000000000" pitchFamily="2" charset="2"/>
              </a:rPr>
              <a:t>in</a:t>
            </a:r>
            <a:r>
              <a:rPr lang="de-DE" sz="2000" b="0" dirty="0">
                <a:sym typeface="Wingdings" panose="05000000000000000000" pitchFamily="2" charset="2"/>
              </a:rPr>
              <a:t> die </a:t>
            </a:r>
            <a:r>
              <a:rPr lang="de-DE" sz="2000" dirty="0">
                <a:sym typeface="Wingdings" panose="05000000000000000000" pitchFamily="2" charset="2"/>
              </a:rPr>
              <a:t>Welt</a:t>
            </a:r>
          </a:p>
        </p:txBody>
      </p:sp>
      <p:sp>
        <p:nvSpPr>
          <p:cNvPr id="3" name="Sprechblase: rechteckig mit abgerundeten Ecken 2">
            <a:extLst>
              <a:ext uri="{FF2B5EF4-FFF2-40B4-BE49-F238E27FC236}">
                <a16:creationId xmlns:a16="http://schemas.microsoft.com/office/drawing/2014/main" id="{70DC3990-0B38-17C7-523A-4A07D40D89A2}"/>
              </a:ext>
            </a:extLst>
          </p:cNvPr>
          <p:cNvSpPr/>
          <p:nvPr/>
        </p:nvSpPr>
        <p:spPr>
          <a:xfrm>
            <a:off x="4067944" y="2061544"/>
            <a:ext cx="2016224" cy="473498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Ausdehnung in west. Welt</a:t>
            </a:r>
          </a:p>
        </p:txBody>
      </p:sp>
      <p:sp>
        <p:nvSpPr>
          <p:cNvPr id="6" name="Sprechblase: rechteckig mit abgerundeten Ecken 5">
            <a:extLst>
              <a:ext uri="{FF2B5EF4-FFF2-40B4-BE49-F238E27FC236}">
                <a16:creationId xmlns:a16="http://schemas.microsoft.com/office/drawing/2014/main" id="{A81A6A90-068C-1EDD-BEDB-75FD35DEA2CE}"/>
              </a:ext>
            </a:extLst>
          </p:cNvPr>
          <p:cNvSpPr/>
          <p:nvPr/>
        </p:nvSpPr>
        <p:spPr>
          <a:xfrm>
            <a:off x="4067944" y="2786576"/>
            <a:ext cx="2016224" cy="473498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Globale Ausdehnung</a:t>
            </a:r>
          </a:p>
        </p:txBody>
      </p:sp>
      <p:sp>
        <p:nvSpPr>
          <p:cNvPr id="8" name="Sprechblase: rechteckig mit abgerundeten Ecken 7">
            <a:extLst>
              <a:ext uri="{FF2B5EF4-FFF2-40B4-BE49-F238E27FC236}">
                <a16:creationId xmlns:a16="http://schemas.microsoft.com/office/drawing/2014/main" id="{FE76201B-EA0B-5F51-C2B5-BB1DFE24CA36}"/>
              </a:ext>
            </a:extLst>
          </p:cNvPr>
          <p:cNvSpPr/>
          <p:nvPr/>
        </p:nvSpPr>
        <p:spPr>
          <a:xfrm>
            <a:off x="4067944" y="1382787"/>
            <a:ext cx="2016224" cy="473498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Zentral Europa</a:t>
            </a:r>
          </a:p>
        </p:txBody>
      </p:sp>
    </p:spTree>
    <p:extLst>
      <p:ext uri="{BB962C8B-B14F-4D97-AF65-F5344CB8AC3E}">
        <p14:creationId xmlns:p14="http://schemas.microsoft.com/office/powerpoint/2010/main" val="10541850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462" y="283500"/>
            <a:ext cx="8784520" cy="468000"/>
          </a:xfrm>
        </p:spPr>
        <p:txBody>
          <a:bodyPr/>
          <a:lstStyle/>
          <a:p>
            <a:r>
              <a:rPr lang="de-DE" sz="2800" b="0" dirty="0"/>
              <a:t>Verortung der Moderne:</a:t>
            </a:r>
            <a:br>
              <a:rPr lang="de-DE" sz="2800" b="0" dirty="0"/>
            </a:b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1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149A9D2-823C-2959-6654-07D87DE3C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987554"/>
            <a:ext cx="8370000" cy="3528392"/>
          </a:xfrm>
        </p:spPr>
        <p:txBody>
          <a:bodyPr/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altLang="de-DE" sz="18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rum braucht es eine zeitliche und räumliche Verortung der Analysen?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altLang="de-DE" sz="18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ent zur </a:t>
            </a:r>
            <a:r>
              <a:rPr lang="de-DE" altLang="de-DE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textualisierung</a:t>
            </a:r>
            <a:r>
              <a:rPr lang="de-DE" altLang="de-DE" sz="18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wichtig!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altLang="de-DE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zialstruktur</a:t>
            </a:r>
            <a:r>
              <a:rPr lang="de-DE" altLang="de-DE" sz="18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t </a:t>
            </a:r>
            <a:r>
              <a:rPr lang="de-DE" altLang="de-DE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mer</a:t>
            </a:r>
            <a:r>
              <a:rPr lang="de-DE" altLang="de-DE" sz="18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storische und räumliche Dimension </a:t>
            </a:r>
            <a:r>
              <a:rPr lang="de-DE" altLang="de-DE" sz="18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von welcher Zeit/ Raum sprechen wir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altLang="de-DE" sz="18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darf es um </a:t>
            </a:r>
            <a:r>
              <a:rPr lang="de-DE" altLang="de-DE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en</a:t>
            </a:r>
            <a:r>
              <a:rPr lang="de-DE" altLang="de-DE" sz="18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u </a:t>
            </a:r>
            <a:r>
              <a:rPr lang="de-DE" altLang="de-DE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stehen und richtig einzuordn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000" b="0" dirty="0"/>
          </a:p>
        </p:txBody>
      </p:sp>
    </p:spTree>
    <p:extLst>
      <p:ext uri="{BB962C8B-B14F-4D97-AF65-F5344CB8AC3E}">
        <p14:creationId xmlns:p14="http://schemas.microsoft.com/office/powerpoint/2010/main" val="989901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3F1EB7-05FE-FF1B-D454-D1FB32B72C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859" y="1923678"/>
            <a:ext cx="7560000" cy="936104"/>
          </a:xfrm>
        </p:spPr>
        <p:txBody>
          <a:bodyPr/>
          <a:lstStyle/>
          <a:p>
            <a:pPr algn="ctr"/>
            <a:r>
              <a:rPr lang="de-DE" dirty="0"/>
              <a:t>Zur (2) VL.- Sozialstruktur und Arbeit der Sozialstrukturanalys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D6B484C-4F8F-BFF9-15B7-E74FF7E45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C78EBB5-44DD-DC10-33A0-5BFDC77953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2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93661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462" y="283500"/>
            <a:ext cx="8784520" cy="468000"/>
          </a:xfrm>
        </p:spPr>
        <p:txBody>
          <a:bodyPr/>
          <a:lstStyle/>
          <a:p>
            <a:r>
              <a:rPr lang="de-DE" sz="2800" b="0" dirty="0"/>
              <a:t>Definition Sozialstrukturanalyse: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3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149A9D2-823C-2959-6654-07D87DE3C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915566"/>
            <a:ext cx="8370000" cy="3528392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Fuchs-Heinritz et al. (2007) </a:t>
            </a:r>
            <a:r>
              <a:rPr lang="de-DE" sz="1600" b="0" dirty="0">
                <a:highlight>
                  <a:srgbClr val="FFFF00"/>
                </a:highlight>
              </a:rPr>
              <a:t>DEF</a:t>
            </a:r>
            <a:r>
              <a:rPr lang="de-DE" sz="1600" b="0" dirty="0"/>
              <a:t>=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(1) die </a:t>
            </a:r>
            <a:r>
              <a:rPr lang="de-DE" sz="1800" dirty="0"/>
              <a:t>Struktur einer Gesellschaft oder</a:t>
            </a:r>
            <a:r>
              <a:rPr lang="de-DE" sz="1800" b="0" dirty="0"/>
              <a:t> allgemeiner eines </a:t>
            </a:r>
            <a:r>
              <a:rPr lang="de-DE" sz="1800" dirty="0"/>
              <a:t>sozialen System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(2) </a:t>
            </a:r>
            <a:r>
              <a:rPr lang="de-DE" sz="1800" dirty="0"/>
              <a:t>Arrangement</a:t>
            </a:r>
            <a:r>
              <a:rPr lang="de-DE" sz="1800" b="0" dirty="0"/>
              <a:t> von Akteuren in </a:t>
            </a:r>
            <a:r>
              <a:rPr lang="de-DE" sz="1800" dirty="0"/>
              <a:t>institutionell geregelten Beziehungen</a:t>
            </a:r>
            <a:r>
              <a:rPr lang="de-DE" sz="1800" b="0" dirty="0"/>
              <a:t>, deren wichtigste </a:t>
            </a:r>
            <a:r>
              <a:rPr lang="de-DE" sz="1800" dirty="0"/>
              <a:t>Strukturvariablen</a:t>
            </a:r>
            <a:r>
              <a:rPr lang="de-DE" sz="1800" b="0" dirty="0"/>
              <a:t> </a:t>
            </a:r>
            <a:r>
              <a:rPr lang="de-DE" sz="1800" dirty="0"/>
              <a:t>Position, Rolle und Status </a:t>
            </a:r>
            <a:r>
              <a:rPr lang="de-DE" sz="1800" b="0" dirty="0"/>
              <a:t>sind (...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</a:t>
            </a:r>
            <a:r>
              <a:rPr lang="de-DE" sz="1800" b="0" dirty="0"/>
              <a:t>Aufgabe: Erfassung der wichtigen </a:t>
            </a:r>
            <a:r>
              <a:rPr lang="de-DE" sz="1800" dirty="0"/>
              <a:t>Strukturelemente</a:t>
            </a:r>
            <a:r>
              <a:rPr lang="de-DE" sz="1800" b="0" dirty="0"/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</a:t>
            </a:r>
            <a:r>
              <a:rPr lang="de-DE" sz="1800" b="0" strike="sngStrike" dirty="0">
                <a:sym typeface="Wingdings" panose="05000000000000000000" pitchFamily="2" charset="2"/>
              </a:rPr>
              <a:t>Nicht Verhalten von Individuen </a:t>
            </a:r>
            <a:r>
              <a:rPr lang="de-DE" sz="1800" b="0" dirty="0">
                <a:sym typeface="Wingdings" panose="05000000000000000000" pitchFamily="2" charset="2"/>
              </a:rPr>
              <a:t>erklären, stabile Beziehungen zwischen Gruppen und Individuen </a:t>
            </a: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9901519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462" y="283500"/>
            <a:ext cx="8784520" cy="468000"/>
          </a:xfrm>
        </p:spPr>
        <p:txBody>
          <a:bodyPr/>
          <a:lstStyle/>
          <a:p>
            <a:r>
              <a:rPr lang="de-DE" sz="2800" b="0" dirty="0" err="1"/>
              <a:t>Allumfassenheit</a:t>
            </a:r>
            <a:r>
              <a:rPr lang="de-DE" sz="2800" b="0" dirty="0"/>
              <a:t> der Sozialstrukturanalyse: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4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149A9D2-823C-2959-6654-07D87DE3C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915566"/>
            <a:ext cx="8370000" cy="3944434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1800" b="0" dirty="0">
                <a:solidFill>
                  <a:schemeClr val="bg2"/>
                </a:solidFill>
              </a:rPr>
              <a:t>Wer (Personengruppe, Institution) außerhalb der Wissenschaft nutzt die Erkenntnisse der Sozialstrukturanalyse wofür? Nennen Sie Beispiele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Beispielsweise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Das</a:t>
            </a:r>
            <a:r>
              <a:rPr lang="de-DE" sz="1800" dirty="0"/>
              <a:t> Ausbildungssystem</a:t>
            </a:r>
            <a:r>
              <a:rPr lang="de-DE" sz="1800" b="0" dirty="0"/>
              <a:t> (zunehmende heterogene Schülerschaft- neue Modelle der Inklusion/ Integration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Arbeitnehmervertretungen</a:t>
            </a:r>
            <a:r>
              <a:rPr lang="de-DE" sz="1800" b="0" dirty="0"/>
              <a:t> wie Gewerkschaften (Umgang mit Mitgliederschwund- Modelle zur Mitgliederanwerbung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olidFill>
                <a:schemeClr val="bg2"/>
              </a:solidFill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299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462" y="283500"/>
            <a:ext cx="8784520" cy="468000"/>
          </a:xfrm>
        </p:spPr>
        <p:txBody>
          <a:bodyPr/>
          <a:lstStyle/>
          <a:p>
            <a:r>
              <a:rPr lang="de-DE" sz="2800" b="0" dirty="0"/>
              <a:t>Datenarten und Datenquellen: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5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149A9D2-823C-2959-6654-07D87DE3C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915566"/>
            <a:ext cx="8370000" cy="3528392"/>
          </a:xfrm>
        </p:spPr>
        <p:txBody>
          <a:bodyPr numCol="2"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1800" b="0" dirty="0">
                <a:solidFill>
                  <a:schemeClr val="bg2"/>
                </a:solidFill>
              </a:rPr>
              <a:t>‚Amtliche‘, was ‚nicht-amtliche‘ Daten?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/>
              <a:t>Amtliche Daten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„von </a:t>
            </a:r>
            <a:r>
              <a:rPr lang="de-DE" sz="1800" dirty="0"/>
              <a:t>staatlicher Seite</a:t>
            </a:r>
            <a:r>
              <a:rPr lang="de-DE" sz="1800" b="0" dirty="0"/>
              <a:t>“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Prozessproduziert = </a:t>
            </a:r>
            <a:r>
              <a:rPr lang="de-DE" sz="1800" dirty="0"/>
              <a:t>Nebenprodukte</a:t>
            </a:r>
            <a:r>
              <a:rPr lang="de-DE" sz="1800" b="0" dirty="0"/>
              <a:t> von staatlichen Verwaltungen z.B. Einwohnermeldeamtsdat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Nicht Prozessproduziert =                 </a:t>
            </a:r>
            <a:r>
              <a:rPr lang="de-DE" sz="1800" dirty="0"/>
              <a:t>Erhebungen</a:t>
            </a:r>
            <a:r>
              <a:rPr lang="de-DE" sz="1800" b="0" dirty="0"/>
              <a:t> z.B. Mikrozensus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1800" b="0" dirty="0">
                <a:solidFill>
                  <a:schemeClr val="bg2"/>
                </a:solidFill>
              </a:rPr>
              <a:t>Wund wofür braucht es amtliche Daten? Warum?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/>
              <a:t>Nicht-amtliche Dat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Prozessproduziert = z.B. </a:t>
            </a:r>
            <a:r>
              <a:rPr lang="de-DE" sz="1800" dirty="0"/>
              <a:t>Personalakten</a:t>
            </a:r>
            <a:r>
              <a:rPr lang="de-DE" sz="1800" b="0" dirty="0"/>
              <a:t> aus </a:t>
            </a:r>
            <a:r>
              <a:rPr lang="de-DE" sz="1800" dirty="0"/>
              <a:t>Betrieben</a:t>
            </a: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Nicht-prozessproduziert = </a:t>
            </a:r>
            <a:r>
              <a:rPr lang="de-DE" sz="1800" dirty="0"/>
              <a:t>Umfragedaten</a:t>
            </a:r>
            <a:r>
              <a:rPr lang="de-DE" sz="1800" b="0" dirty="0"/>
              <a:t> z.B. </a:t>
            </a:r>
            <a:r>
              <a:rPr lang="de-DE" sz="1800" b="0" dirty="0" err="1"/>
              <a:t>Allbus</a:t>
            </a:r>
            <a:r>
              <a:rPr lang="de-DE" sz="1800" b="0" dirty="0"/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Objektiv, unabhängig &amp; qualitativ hochwertig und vergleichbare Daten</a:t>
            </a:r>
          </a:p>
        </p:txBody>
      </p:sp>
    </p:spTree>
    <p:extLst>
      <p:ext uri="{BB962C8B-B14F-4D97-AF65-F5344CB8AC3E}">
        <p14:creationId xmlns:p14="http://schemas.microsoft.com/office/powerpoint/2010/main" val="4017673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08797"/>
            <a:ext cx="7560000" cy="468000"/>
          </a:xfrm>
        </p:spPr>
        <p:txBody>
          <a:bodyPr/>
          <a:lstStyle/>
          <a:p>
            <a:r>
              <a:rPr lang="de-DE" dirty="0"/>
              <a:t>Datenquellen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 dirty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6</a:t>
            </a:fld>
            <a:r>
              <a:rPr lang="de-DE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163329" y="776797"/>
            <a:ext cx="9131930" cy="8910644"/>
          </a:xfrm>
          <a:prstGeom prst="rect">
            <a:avLst/>
          </a:prstGeom>
          <a:noFill/>
        </p:spPr>
        <p:txBody>
          <a:bodyPr wrap="square" numCol="2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600" b="1" dirty="0">
                <a:solidFill>
                  <a:schemeClr val="tx2"/>
                </a:solidFill>
              </a:rPr>
              <a:t>Zensus</a:t>
            </a:r>
            <a:r>
              <a:rPr lang="de-DE" sz="1600" dirty="0">
                <a:solidFill>
                  <a:schemeClr val="tx2"/>
                </a:solidFill>
              </a:rPr>
              <a:t>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Früher „</a:t>
            </a:r>
            <a:r>
              <a:rPr lang="de-DE" sz="1600" b="1" dirty="0">
                <a:solidFill>
                  <a:schemeClr val="tx2"/>
                </a:solidFill>
              </a:rPr>
              <a:t>Volkszählung“</a:t>
            </a:r>
            <a:r>
              <a:rPr lang="de-DE" sz="1600" dirty="0">
                <a:solidFill>
                  <a:schemeClr val="tx2"/>
                </a:solidFill>
              </a:rPr>
              <a:t> genan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Heute rund </a:t>
            </a:r>
            <a:r>
              <a:rPr lang="de-DE" sz="1600" b="1" dirty="0">
                <a:solidFill>
                  <a:schemeClr val="tx2"/>
                </a:solidFill>
              </a:rPr>
              <a:t>4% </a:t>
            </a:r>
            <a:r>
              <a:rPr lang="de-DE" sz="1600" dirty="0">
                <a:solidFill>
                  <a:schemeClr val="tx2"/>
                </a:solidFill>
              </a:rPr>
              <a:t>der </a:t>
            </a:r>
            <a:r>
              <a:rPr lang="de-DE" sz="1600" b="1" dirty="0">
                <a:solidFill>
                  <a:schemeClr val="tx2"/>
                </a:solidFill>
              </a:rPr>
              <a:t>Bevölkeru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Möglichst genaue </a:t>
            </a:r>
            <a:r>
              <a:rPr lang="de-DE" sz="1600" b="1" dirty="0">
                <a:solidFill>
                  <a:schemeClr val="tx2"/>
                </a:solidFill>
              </a:rPr>
              <a:t>Momentaufnahme</a:t>
            </a:r>
            <a:r>
              <a:rPr lang="de-DE" sz="1600" dirty="0">
                <a:solidFill>
                  <a:schemeClr val="tx2"/>
                </a:solidFill>
              </a:rPr>
              <a:t> der Bevölkerung (</a:t>
            </a:r>
            <a:r>
              <a:rPr lang="de-DE" sz="1600" b="1" dirty="0">
                <a:solidFill>
                  <a:schemeClr val="tx2"/>
                </a:solidFill>
              </a:rPr>
              <a:t>alle 10 Jahre</a:t>
            </a:r>
            <a:r>
              <a:rPr lang="de-DE" sz="1600" dirty="0">
                <a:solidFill>
                  <a:schemeClr val="tx2"/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Thema: Basisdaten zur Erwerbstätigkeit &amp; Wohnsitu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600" b="1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r>
              <a:rPr lang="de-DE" sz="1600" dirty="0">
                <a:solidFill>
                  <a:schemeClr val="bg2"/>
                </a:solidFill>
              </a:rPr>
              <a:t>Erläutern Sie, die Zwecke und was beide voneinander unterscheidet?</a:t>
            </a:r>
          </a:p>
          <a:p>
            <a:pPr>
              <a:lnSpc>
                <a:spcPct val="150000"/>
              </a:lnSpc>
            </a:pPr>
            <a:endParaRPr lang="de-DE" sz="1600" b="1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endParaRPr lang="de-DE" sz="1600" b="1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endParaRPr lang="de-DE" sz="1600" b="1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endParaRPr lang="de-DE" sz="1600" b="1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endParaRPr lang="de-DE" sz="1600" b="1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endParaRPr lang="de-DE" sz="1600" b="1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endParaRPr lang="de-DE" sz="1600" b="1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endParaRPr lang="de-DE" sz="1600" b="1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endParaRPr lang="de-DE" sz="1600" b="1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endParaRPr lang="de-DE" sz="1600" b="1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endParaRPr lang="de-DE" sz="1600" b="1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endParaRPr lang="de-DE" sz="1600" b="1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endParaRPr lang="de-DE" sz="1600" b="1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endParaRPr lang="de-DE" sz="1600" b="1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r>
              <a:rPr lang="de-DE" sz="1600" b="1" dirty="0">
                <a:solidFill>
                  <a:schemeClr val="tx2"/>
                </a:solidFill>
              </a:rPr>
              <a:t>Mikrozensus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chemeClr val="tx2"/>
                </a:solidFill>
              </a:rPr>
              <a:t>„kleiner Zensus“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Repräsentative Haushaltsbefragung mit Auskunftspflich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 </a:t>
            </a:r>
            <a:r>
              <a:rPr lang="de-DE" sz="1600" b="1" dirty="0">
                <a:solidFill>
                  <a:schemeClr val="tx2"/>
                </a:solidFill>
              </a:rPr>
              <a:t>1% Bevölkerung</a:t>
            </a:r>
            <a:r>
              <a:rPr lang="de-DE" sz="1600" dirty="0">
                <a:solidFill>
                  <a:schemeClr val="tx2"/>
                </a:solidFill>
              </a:rPr>
              <a:t> </a:t>
            </a:r>
            <a:r>
              <a:rPr lang="de-DE" sz="1600" b="1" dirty="0">
                <a:solidFill>
                  <a:schemeClr val="tx2"/>
                </a:solidFill>
              </a:rPr>
              <a:t>jährliche</a:t>
            </a:r>
            <a:r>
              <a:rPr lang="de-DE" sz="1600" dirty="0">
                <a:solidFill>
                  <a:schemeClr val="tx2"/>
                </a:solidFill>
              </a:rPr>
              <a:t> Zufallsbefragung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Bevölkerungsstruktur (wirtsch., sozial, </a:t>
            </a:r>
            <a:r>
              <a:rPr lang="de-DE" sz="1600" dirty="0" err="1">
                <a:solidFill>
                  <a:schemeClr val="tx2"/>
                </a:solidFill>
              </a:rPr>
              <a:t>arbeit</a:t>
            </a:r>
            <a:r>
              <a:rPr lang="de-DE" sz="1600" dirty="0">
                <a:solidFill>
                  <a:schemeClr val="tx2"/>
                </a:solidFill>
              </a:rPr>
              <a:t>..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Größere SP Bevölkerung vs. 1% Bevölkeru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Momentaufnahme vs. Entwicklungslinien durch </a:t>
            </a:r>
            <a:r>
              <a:rPr lang="de-DE" sz="1600" dirty="0" err="1">
                <a:solidFill>
                  <a:schemeClr val="tx2"/>
                </a:solidFill>
              </a:rPr>
              <a:t>Jahresrhytmus</a:t>
            </a:r>
            <a:endParaRPr lang="de-DE" sz="1600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82144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7543"/>
            <a:ext cx="7560000" cy="468000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Lernziele</a:t>
            </a:r>
            <a:r>
              <a:rPr lang="de-DE" dirty="0"/>
              <a:t>: zweite Sitzung I VL. (1) und (2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900054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7</a:t>
            </a:fld>
            <a:r>
              <a:rPr lang="de-DE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379110" y="679937"/>
            <a:ext cx="8296889" cy="37805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wurde heute erarbeitet…?</a:t>
            </a: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Kennzeichen</a:t>
            </a:r>
            <a:r>
              <a:rPr lang="de-DE" sz="1800" dirty="0">
                <a:solidFill>
                  <a:schemeClr val="tx2"/>
                </a:solidFill>
              </a:rPr>
              <a:t> einer </a:t>
            </a:r>
            <a:r>
              <a:rPr lang="de-DE" sz="1800" b="1" dirty="0">
                <a:solidFill>
                  <a:schemeClr val="tx2"/>
                </a:solidFill>
              </a:rPr>
              <a:t>modernen Gesellschaft </a:t>
            </a:r>
            <a:r>
              <a:rPr lang="de-DE" sz="1800" dirty="0">
                <a:solidFill>
                  <a:schemeClr val="tx2"/>
                </a:solidFill>
              </a:rPr>
              <a:t>und ihrer </a:t>
            </a:r>
            <a:r>
              <a:rPr lang="de-DE" sz="1800" b="1" dirty="0">
                <a:solidFill>
                  <a:schemeClr val="tx2"/>
                </a:solidFill>
              </a:rPr>
              <a:t>Staatsform</a:t>
            </a:r>
            <a:r>
              <a:rPr lang="de-DE" sz="1800" dirty="0">
                <a:solidFill>
                  <a:schemeClr val="tx2"/>
                </a:solidFill>
              </a:rPr>
              <a:t> kenn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Ein </a:t>
            </a:r>
            <a:r>
              <a:rPr lang="de-DE" sz="1800" b="1" dirty="0">
                <a:solidFill>
                  <a:schemeClr val="tx2"/>
                </a:solidFill>
              </a:rPr>
              <a:t>idealtypisches Epochenschema </a:t>
            </a:r>
            <a:r>
              <a:rPr lang="de-DE" sz="1800" dirty="0">
                <a:solidFill>
                  <a:schemeClr val="tx2"/>
                </a:solidFill>
              </a:rPr>
              <a:t>der Moderne benennen und den verschiedenen </a:t>
            </a:r>
            <a:r>
              <a:rPr lang="de-DE" sz="1800" b="1" dirty="0">
                <a:solidFill>
                  <a:schemeClr val="tx2"/>
                </a:solidFill>
              </a:rPr>
              <a:t>Epochen geopolitische Räume zuordnen </a:t>
            </a:r>
            <a:r>
              <a:rPr lang="de-DE" sz="1800" dirty="0">
                <a:solidFill>
                  <a:schemeClr val="tx2"/>
                </a:solidFill>
              </a:rPr>
              <a:t>(Sitzung I)</a:t>
            </a:r>
          </a:p>
          <a:p>
            <a:pPr>
              <a:lnSpc>
                <a:spcPct val="150000"/>
              </a:lnSpc>
            </a:pPr>
            <a:endParaRPr lang="de-DE" sz="1800" b="1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Können </a:t>
            </a:r>
            <a:r>
              <a:rPr lang="de-DE" sz="1800" b="1" dirty="0">
                <a:solidFill>
                  <a:schemeClr val="tx2"/>
                </a:solidFill>
              </a:rPr>
              <a:t>'Sozialstruktur' definieren </a:t>
            </a:r>
            <a:r>
              <a:rPr lang="de-DE" sz="1800" dirty="0">
                <a:solidFill>
                  <a:schemeClr val="tx2"/>
                </a:solidFill>
              </a:rPr>
              <a:t>(Sitzung II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verschiedene </a:t>
            </a:r>
            <a:r>
              <a:rPr lang="de-DE" sz="1800" b="1" dirty="0">
                <a:solidFill>
                  <a:schemeClr val="tx2"/>
                </a:solidFill>
              </a:rPr>
              <a:t>Datenarten und Datenquellen </a:t>
            </a:r>
            <a:r>
              <a:rPr lang="de-DE" sz="1800" dirty="0">
                <a:solidFill>
                  <a:schemeClr val="tx2"/>
                </a:solidFill>
              </a:rPr>
              <a:t>der Sozialstrukturanalyse Deutschlands kennen </a:t>
            </a:r>
          </a:p>
        </p:txBody>
      </p:sp>
    </p:spTree>
    <p:extLst>
      <p:ext uri="{BB962C8B-B14F-4D97-AF65-F5344CB8AC3E}">
        <p14:creationId xmlns:p14="http://schemas.microsoft.com/office/powerpoint/2010/main" val="22308972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sblick: nächs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 dirty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8</a:t>
            </a:fld>
            <a:r>
              <a:rPr lang="de-DE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537190" y="1059582"/>
            <a:ext cx="7421619" cy="1703030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kommt…?</a:t>
            </a: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Gleichheit und </a:t>
            </a:r>
            <a:r>
              <a:rPr lang="de-DE" sz="1800" b="1" dirty="0">
                <a:solidFill>
                  <a:schemeClr val="tx2"/>
                </a:solidFill>
              </a:rPr>
              <a:t>sozialer Ungleichheit </a:t>
            </a:r>
            <a:r>
              <a:rPr lang="de-DE" sz="1800" dirty="0">
                <a:solidFill>
                  <a:schemeClr val="tx2"/>
                </a:solidFill>
              </a:rPr>
              <a:t>(ab Sitzung III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Bedeutung </a:t>
            </a:r>
            <a:r>
              <a:rPr lang="de-DE" sz="1800" b="1" dirty="0">
                <a:solidFill>
                  <a:schemeClr val="tx2"/>
                </a:solidFill>
              </a:rPr>
              <a:t>sozialer Bewegungen</a:t>
            </a:r>
            <a:endParaRPr lang="de-DE" sz="16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969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462" y="103500"/>
            <a:ext cx="8784520" cy="468000"/>
          </a:xfrm>
        </p:spPr>
        <p:txBody>
          <a:bodyPr/>
          <a:lstStyle/>
          <a:p>
            <a:r>
              <a:rPr lang="de-DE" dirty="0"/>
              <a:t>Weitere Übungsfragen: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9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149A9D2-823C-2959-6654-07D87DE3C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605310"/>
            <a:ext cx="9144544" cy="405244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400" b="0" dirty="0">
                <a:solidFill>
                  <a:schemeClr val="bg2"/>
                </a:solidFill>
              </a:rPr>
              <a:t>Benenne zwei Unterschiede zwischen marxistischen und nicht-marxistischen Sozialstrukturanalysen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400" b="0" dirty="0"/>
              <a:t>Nach Schäfer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400" dirty="0"/>
              <a:t>a) Marxistische Ansätze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400" b="0" dirty="0"/>
              <a:t>„gesellschaftliche Formen der Produktion“ bilden Gesellschaftsstruktur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400" b="0" dirty="0"/>
              <a:t>Untersuchung der </a:t>
            </a:r>
            <a:r>
              <a:rPr lang="de-DE" sz="1400" dirty="0"/>
              <a:t>Produktionsmittel</a:t>
            </a:r>
            <a:r>
              <a:rPr lang="de-DE" sz="1400" b="0" dirty="0"/>
              <a:t> (</a:t>
            </a:r>
            <a:r>
              <a:rPr lang="de-DE" sz="1400" dirty="0"/>
              <a:t>wer hat Kapital vs. wer Lohnarbeit</a:t>
            </a:r>
            <a:r>
              <a:rPr lang="de-DE" sz="1400" b="0" dirty="0"/>
              <a:t>) </a:t>
            </a:r>
            <a:r>
              <a:rPr lang="de-DE" sz="1400" b="0" dirty="0">
                <a:sym typeface="Wingdings" panose="05000000000000000000" pitchFamily="2" charset="2"/>
              </a:rPr>
              <a:t>Klassen</a:t>
            </a:r>
            <a:endParaRPr lang="de-DE" sz="1400" b="0" dirty="0"/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400" b="0" dirty="0"/>
              <a:t>Aus den </a:t>
            </a:r>
            <a:r>
              <a:rPr lang="de-DE" sz="1400" dirty="0"/>
              <a:t>zwei Klassen </a:t>
            </a:r>
            <a:r>
              <a:rPr lang="de-DE" sz="1400" b="0" dirty="0"/>
              <a:t>ist die </a:t>
            </a:r>
            <a:r>
              <a:rPr lang="de-DE" sz="1400" dirty="0"/>
              <a:t>Sozialstruktur ablesb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400" dirty="0"/>
              <a:t>b) Nicht-marxistische Ansätze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Hinterfragt</a:t>
            </a:r>
            <a:r>
              <a:rPr lang="de-DE" sz="1400" b="0" dirty="0"/>
              <a:t> Strukturbedeutung von </a:t>
            </a:r>
            <a:r>
              <a:rPr lang="de-DE" sz="1400" dirty="0"/>
              <a:t>Klassen in hochindustrialisierten Gesellschaften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400" b="0" dirty="0"/>
              <a:t>Betonung von </a:t>
            </a:r>
            <a:r>
              <a:rPr lang="de-DE" sz="1400" dirty="0"/>
              <a:t>sozialen Schichten </a:t>
            </a:r>
            <a:r>
              <a:rPr lang="de-DE" sz="1400" b="0" dirty="0"/>
              <a:t>und </a:t>
            </a:r>
            <a:r>
              <a:rPr lang="de-DE" sz="1400" dirty="0"/>
              <a:t>sozialer Mobilitä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400" b="0" dirty="0">
                <a:solidFill>
                  <a:schemeClr val="bg2"/>
                </a:solidFill>
              </a:rPr>
              <a:t>Inwiefern ist die Soziologie eine moderne Wissenschaft?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400" b="0" dirty="0"/>
              <a:t>Soziologie ist </a:t>
            </a:r>
            <a:r>
              <a:rPr lang="de-DE" sz="1400" dirty="0"/>
              <a:t>Wissenschaft</a:t>
            </a:r>
            <a:r>
              <a:rPr lang="de-DE" sz="1400" b="0" dirty="0"/>
              <a:t> der </a:t>
            </a:r>
            <a:r>
              <a:rPr lang="de-DE" sz="1400" dirty="0"/>
              <a:t>modernen Gesellschaft </a:t>
            </a:r>
            <a:r>
              <a:rPr lang="de-DE" sz="1400" b="0" dirty="0">
                <a:sym typeface="Wingdings" panose="05000000000000000000" pitchFamily="2" charset="2"/>
              </a:rPr>
              <a:t>untrennbar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anose="05000000000000000000" pitchFamily="2" charset="2"/>
              </a:rPr>
              <a:t>Sozialstrukturanalyse</a:t>
            </a:r>
            <a:r>
              <a:rPr lang="de-DE" sz="1400" b="0" dirty="0">
                <a:sym typeface="Wingdings" panose="05000000000000000000" pitchFamily="2" charset="2"/>
              </a:rPr>
              <a:t> als </a:t>
            </a:r>
            <a:r>
              <a:rPr lang="de-DE" sz="1400" dirty="0">
                <a:sym typeface="Wingdings" panose="05000000000000000000" pitchFamily="2" charset="2"/>
              </a:rPr>
              <a:t>Bestandteil</a:t>
            </a:r>
            <a:r>
              <a:rPr lang="de-DE" sz="1400" b="0" dirty="0">
                <a:sym typeface="Wingdings" panose="05000000000000000000" pitchFamily="2" charset="2"/>
              </a:rPr>
              <a:t> der Soziologie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700" dirty="0"/>
          </a:p>
        </p:txBody>
      </p:sp>
    </p:spTree>
    <p:extLst>
      <p:ext uri="{BB962C8B-B14F-4D97-AF65-F5344CB8AC3E}">
        <p14:creationId xmlns:p14="http://schemas.microsoft.com/office/powerpoint/2010/main" val="682686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49518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Staatsform moderne Gesellschaf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1AE0A09-480E-44F6-BDAB-8FE8A65C6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795670"/>
            <a:ext cx="8119686" cy="3756262"/>
          </a:xfrm>
        </p:spPr>
        <p:txBody>
          <a:bodyPr/>
          <a:lstStyle/>
          <a:p>
            <a:r>
              <a:rPr lang="de-DE" sz="1800" b="0" dirty="0"/>
              <a:t>Vereint Formen: </a:t>
            </a:r>
          </a:p>
          <a:p>
            <a:endParaRPr lang="de-DE" sz="1800" b="0" dirty="0"/>
          </a:p>
          <a:p>
            <a:r>
              <a:rPr lang="de-DE" sz="1800" dirty="0"/>
              <a:t>1) Nationalstaat</a:t>
            </a:r>
            <a:r>
              <a:rPr lang="de-DE" sz="1800" b="0" dirty="0"/>
              <a:t> definiert Zugehörigkeit (über Staatsbürgerschaft)</a:t>
            </a:r>
          </a:p>
          <a:p>
            <a:r>
              <a:rPr lang="de-DE" sz="1800" dirty="0"/>
              <a:t>2) Wohlfahrtsstaat</a:t>
            </a:r>
            <a:r>
              <a:rPr lang="de-DE" sz="1800" b="0" dirty="0"/>
              <a:t> mit Versorgungssicherheiten</a:t>
            </a:r>
          </a:p>
          <a:p>
            <a:r>
              <a:rPr lang="de-DE" sz="1800" dirty="0"/>
              <a:t>3) Rechtsstaat</a:t>
            </a:r>
            <a:r>
              <a:rPr lang="de-DE" sz="1800" b="0" dirty="0"/>
              <a:t> (Rechtssystem, Absicherung durch Gesetz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r>
              <a:rPr lang="de-DE" sz="1800" b="0" dirty="0">
                <a:sym typeface="Wingdings" panose="05000000000000000000" pitchFamily="2" charset="2"/>
              </a:rPr>
              <a:t> Moderner Staat als </a:t>
            </a:r>
            <a:r>
              <a:rPr lang="de-DE" sz="1800" dirty="0">
                <a:sym typeface="Wingdings" panose="05000000000000000000" pitchFamily="2" charset="2"/>
              </a:rPr>
              <a:t>institutionelles Arrangement </a:t>
            </a:r>
            <a:r>
              <a:rPr lang="de-DE" sz="1800" b="0" dirty="0">
                <a:sym typeface="Wingdings" panose="05000000000000000000" pitchFamily="2" charset="2"/>
              </a:rPr>
              <a:t>von Ökonomie, Recht, Bildung, Wissenschaft, Kultur und Politik (Bedeutsamkeit)</a:t>
            </a: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498477678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635" y="327232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Bedeutung </a:t>
            </a:r>
            <a:r>
              <a:rPr lang="de-DE" b="1" dirty="0"/>
              <a:t>Wohlfahrtsstaat</a:t>
            </a:r>
            <a:endParaRPr lang="en-US" b="1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1AE0A09-480E-44F6-BDAB-8FE8A65C6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 dirty="0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3</a:t>
            </a:fld>
            <a:r>
              <a:rPr lang="de-DE" sz="700"/>
              <a:t> </a:t>
            </a:r>
          </a:p>
        </p:txBody>
      </p:sp>
      <p:graphicFrame>
        <p:nvGraphicFramePr>
          <p:cNvPr id="2" name="Tabelle 4">
            <a:extLst>
              <a:ext uri="{FF2B5EF4-FFF2-40B4-BE49-F238E27FC236}">
                <a16:creationId xmlns:a16="http://schemas.microsoft.com/office/drawing/2014/main" id="{BAC6DE60-4F91-BE04-AA14-D4E84B2FF49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8408550"/>
              </p:ext>
            </p:extLst>
          </p:nvPr>
        </p:nvGraphicFramePr>
        <p:xfrm>
          <a:off x="468312" y="863347"/>
          <a:ext cx="8064128" cy="22551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2064">
                  <a:extLst>
                    <a:ext uri="{9D8B030D-6E8A-4147-A177-3AD203B41FA5}">
                      <a16:colId xmlns:a16="http://schemas.microsoft.com/office/drawing/2014/main" val="1971996289"/>
                    </a:ext>
                  </a:extLst>
                </a:gridCol>
                <a:gridCol w="4032064">
                  <a:extLst>
                    <a:ext uri="{9D8B030D-6E8A-4147-A177-3AD203B41FA5}">
                      <a16:colId xmlns:a16="http://schemas.microsoft.com/office/drawing/2014/main" val="3576947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500" dirty="0"/>
                        <a:t>Leistung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500" dirty="0"/>
                        <a:t>Beispiel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99403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500" dirty="0"/>
                        <a:t>Soziale Sicherung</a:t>
                      </a:r>
                    </a:p>
                    <a:p>
                      <a:endParaRPr lang="de-DE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87801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500" dirty="0"/>
                        <a:t>Sozialpolitische Maßnahm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5061285"/>
                  </a:ext>
                </a:extLst>
              </a:tr>
              <a:tr h="490091">
                <a:tc>
                  <a:txBody>
                    <a:bodyPr/>
                    <a:lstStyle/>
                    <a:p>
                      <a:r>
                        <a:rPr lang="de-DE" sz="1500" dirty="0"/>
                        <a:t>Staatliche Förderungen der Vermögens-bildung oder auch Steuervergünstigung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1462218"/>
                  </a:ext>
                </a:extLst>
              </a:tr>
              <a:tr h="416222">
                <a:tc>
                  <a:txBody>
                    <a:bodyPr/>
                    <a:lstStyle/>
                    <a:p>
                      <a:r>
                        <a:rPr lang="de-DE" sz="1500" dirty="0"/>
                        <a:t>Bereitstellung von Infrastruktu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8639033"/>
                  </a:ext>
                </a:extLst>
              </a:tr>
            </a:tbl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51199AB4-C7A9-8F96-C91A-0D190AA6A1D7}"/>
              </a:ext>
            </a:extLst>
          </p:cNvPr>
          <p:cNvSpPr txBox="1"/>
          <p:nvPr/>
        </p:nvSpPr>
        <p:spPr>
          <a:xfrm>
            <a:off x="7998072" y="3098531"/>
            <a:ext cx="48282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Etc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85597E0-D540-B981-C5B4-7C101F659D15}"/>
              </a:ext>
            </a:extLst>
          </p:cNvPr>
          <p:cNvSpPr txBox="1"/>
          <p:nvPr/>
        </p:nvSpPr>
        <p:spPr>
          <a:xfrm>
            <a:off x="4529921" y="1288597"/>
            <a:ext cx="4103688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Versicherungen</a:t>
            </a:r>
            <a:r>
              <a:rPr lang="de-DE" dirty="0"/>
              <a:t> (</a:t>
            </a:r>
            <a:r>
              <a:rPr lang="de-DE" b="1" dirty="0"/>
              <a:t>K</a:t>
            </a:r>
            <a:r>
              <a:rPr lang="de-DE" dirty="0"/>
              <a:t>ranken- </a:t>
            </a:r>
            <a:r>
              <a:rPr lang="de-DE" b="1" dirty="0"/>
              <a:t>R</a:t>
            </a:r>
            <a:r>
              <a:rPr lang="de-DE" dirty="0"/>
              <a:t>enten-</a:t>
            </a:r>
            <a:r>
              <a:rPr lang="de-DE" b="1" dirty="0"/>
              <a:t> A</a:t>
            </a:r>
            <a:r>
              <a:rPr lang="de-DE" dirty="0"/>
              <a:t>rbeitslosen </a:t>
            </a:r>
            <a:r>
              <a:rPr lang="de-DE" b="1" dirty="0"/>
              <a:t>U</a:t>
            </a:r>
            <a:r>
              <a:rPr lang="de-DE" dirty="0"/>
              <a:t>nfall-, </a:t>
            </a:r>
            <a:r>
              <a:rPr lang="de-DE" b="1" dirty="0"/>
              <a:t>P</a:t>
            </a:r>
            <a:r>
              <a:rPr lang="de-DE" dirty="0"/>
              <a:t>flegeversicherung)</a:t>
            </a:r>
          </a:p>
          <a:p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09269E8-F4B6-B5CA-A7CE-F376FB9BDCB7}"/>
              </a:ext>
            </a:extLst>
          </p:cNvPr>
          <p:cNvSpPr txBox="1"/>
          <p:nvPr/>
        </p:nvSpPr>
        <p:spPr>
          <a:xfrm>
            <a:off x="4500376" y="1807327"/>
            <a:ext cx="41036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Staatliche </a:t>
            </a:r>
            <a:r>
              <a:rPr lang="de-DE" sz="1400" b="1" dirty="0"/>
              <a:t>Förderung</a:t>
            </a:r>
            <a:r>
              <a:rPr lang="de-DE" sz="1400" dirty="0"/>
              <a:t> der </a:t>
            </a:r>
            <a:r>
              <a:rPr lang="de-DE" sz="1400" b="1" dirty="0"/>
              <a:t>Ausbildung</a:t>
            </a:r>
            <a:r>
              <a:rPr lang="de-DE" sz="1400" dirty="0"/>
              <a:t> (BAföG)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9B1E242-0FAA-002B-EF5C-43706F67D061}"/>
              </a:ext>
            </a:extLst>
          </p:cNvPr>
          <p:cNvSpPr txBox="1"/>
          <p:nvPr/>
        </p:nvSpPr>
        <p:spPr>
          <a:xfrm>
            <a:off x="4479337" y="2255146"/>
            <a:ext cx="41036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Wohnungs</a:t>
            </a:r>
            <a:r>
              <a:rPr lang="de-DE" sz="1400" b="1" dirty="0"/>
              <a:t>bauprämien</a:t>
            </a:r>
            <a:endParaRPr lang="de-DE" b="1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B2A5946-5632-E4EA-694D-1750F0995B3C}"/>
              </a:ext>
            </a:extLst>
          </p:cNvPr>
          <p:cNvSpPr txBox="1"/>
          <p:nvPr/>
        </p:nvSpPr>
        <p:spPr>
          <a:xfrm>
            <a:off x="4464564" y="2724803"/>
            <a:ext cx="4103688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Öffentlicher Nahverkehr </a:t>
            </a:r>
            <a:r>
              <a:rPr lang="de-DE" sz="1400" dirty="0"/>
              <a:t>oder Bildungswesen</a:t>
            </a:r>
          </a:p>
          <a:p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C90007A-C7BC-B282-1443-414ECE8D8D72}"/>
              </a:ext>
            </a:extLst>
          </p:cNvPr>
          <p:cNvSpPr txBox="1"/>
          <p:nvPr/>
        </p:nvSpPr>
        <p:spPr>
          <a:xfrm>
            <a:off x="7256547" y="516645"/>
            <a:ext cx="158417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ipp: KRAUP</a:t>
            </a:r>
          </a:p>
        </p:txBody>
      </p:sp>
    </p:spTree>
    <p:extLst>
      <p:ext uri="{BB962C8B-B14F-4D97-AF65-F5344CB8AC3E}">
        <p14:creationId xmlns:p14="http://schemas.microsoft.com/office/powerpoint/2010/main" val="38665895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9" grpId="0"/>
      <p:bldP spid="10" grpId="0"/>
      <p:bldP spid="11" grpId="0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E4543ED4-3880-9620-4D40-0FB172AEA002}"/>
              </a:ext>
            </a:extLst>
          </p:cNvPr>
          <p:cNvSpPr/>
          <p:nvPr/>
        </p:nvSpPr>
        <p:spPr>
          <a:xfrm>
            <a:off x="971600" y="3147814"/>
            <a:ext cx="7632848" cy="1018698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DE" sz="1500" dirty="0"/>
              <a:t>Charakteristika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500" dirty="0"/>
              <a:t>Beispielland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500" b="1" dirty="0"/>
              <a:t>„Dekommodifizierung“</a:t>
            </a:r>
            <a:r>
              <a:rPr lang="de-DE" sz="1500" dirty="0"/>
              <a:t> = </a:t>
            </a:r>
            <a:r>
              <a:rPr lang="de-DE" sz="1500" b="1" dirty="0"/>
              <a:t>Grad der Absicherung </a:t>
            </a:r>
            <a:r>
              <a:rPr lang="de-DE" sz="1500" dirty="0"/>
              <a:t>der Menschen durch den Sta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500" b="1" dirty="0"/>
              <a:t>„Stratifizierung“</a:t>
            </a:r>
            <a:r>
              <a:rPr lang="de-DE" sz="1500" dirty="0"/>
              <a:t> = </a:t>
            </a:r>
            <a:r>
              <a:rPr lang="de-DE" sz="1500" b="1" dirty="0"/>
              <a:t>Einfluss</a:t>
            </a:r>
            <a:r>
              <a:rPr lang="de-DE" sz="1500" dirty="0"/>
              <a:t> auf </a:t>
            </a:r>
            <a:r>
              <a:rPr lang="de-DE" sz="1500" b="1" dirty="0"/>
              <a:t>Unterschied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462" y="283500"/>
            <a:ext cx="8784520" cy="468000"/>
          </a:xfrm>
        </p:spPr>
        <p:txBody>
          <a:bodyPr/>
          <a:lstStyle/>
          <a:p>
            <a:r>
              <a:rPr lang="de-DE" sz="2800" b="0" dirty="0"/>
              <a:t>Wohlfahrtsstaat-Typen:</a:t>
            </a:r>
            <a:br>
              <a:rPr lang="de-DE" sz="2800" b="0" dirty="0"/>
            </a:br>
            <a:r>
              <a:rPr lang="de-DE" sz="1600" b="0" dirty="0"/>
              <a:t>nach </a:t>
            </a:r>
            <a:r>
              <a:rPr lang="de-DE" sz="1600" b="0" dirty="0" err="1"/>
              <a:t>Esping</a:t>
            </a:r>
            <a:r>
              <a:rPr lang="de-DE" sz="1600" b="0" dirty="0"/>
              <a:t>-Anderson (1998)</a:t>
            </a:r>
            <a:br>
              <a:rPr lang="de-DE" sz="2800" b="0" dirty="0"/>
            </a:b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4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149A9D2-823C-2959-6654-07D87DE3C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722" y="1246036"/>
            <a:ext cx="8370000" cy="1649762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/>
              <a:t>Idealtypen:</a:t>
            </a:r>
          </a:p>
          <a:p>
            <a:pPr marL="457200" indent="-457200">
              <a:lnSpc>
                <a:spcPct val="107000"/>
              </a:lnSpc>
              <a:spcAft>
                <a:spcPts val="800"/>
              </a:spcAft>
              <a:buAutoNum type="arabicPeriod"/>
            </a:pPr>
            <a:r>
              <a:rPr lang="de-DE" sz="2000" dirty="0"/>
              <a:t>Liberale Wohlfahrtsstaat</a:t>
            </a:r>
          </a:p>
          <a:p>
            <a:pPr marL="457200" indent="-457200">
              <a:lnSpc>
                <a:spcPct val="107000"/>
              </a:lnSpc>
              <a:spcAft>
                <a:spcPts val="800"/>
              </a:spcAft>
              <a:buAutoNum type="arabicPeriod"/>
            </a:pPr>
            <a:r>
              <a:rPr lang="de-DE" sz="2000" dirty="0"/>
              <a:t>Konservativer Wohlfahrtsstaat</a:t>
            </a:r>
          </a:p>
          <a:p>
            <a:pPr marL="457200" indent="-457200">
              <a:lnSpc>
                <a:spcPct val="107000"/>
              </a:lnSpc>
              <a:spcAft>
                <a:spcPts val="800"/>
              </a:spcAft>
              <a:buAutoNum type="arabicPeriod"/>
            </a:pPr>
            <a:r>
              <a:rPr lang="de-DE" sz="2000" dirty="0"/>
              <a:t>Sozialdemokratischer Wohlfahrtsstaat</a:t>
            </a:r>
          </a:p>
        </p:txBody>
      </p:sp>
    </p:spTree>
    <p:extLst>
      <p:ext uri="{BB962C8B-B14F-4D97-AF65-F5344CB8AC3E}">
        <p14:creationId xmlns:p14="http://schemas.microsoft.com/office/powerpoint/2010/main" val="3809714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E4543ED4-3880-9620-4D40-0FB172AEA002}"/>
              </a:ext>
            </a:extLst>
          </p:cNvPr>
          <p:cNvSpPr/>
          <p:nvPr/>
        </p:nvSpPr>
        <p:spPr>
          <a:xfrm>
            <a:off x="3899799" y="969558"/>
            <a:ext cx="2027914" cy="468000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400" b="1" dirty="0"/>
              <a:t>Freihei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462" y="283500"/>
            <a:ext cx="8784520" cy="468000"/>
          </a:xfrm>
        </p:spPr>
        <p:txBody>
          <a:bodyPr/>
          <a:lstStyle/>
          <a:p>
            <a:r>
              <a:rPr lang="de-DE" sz="2800" b="0" dirty="0"/>
              <a:t>Wohlfahrtsstaat-Typen:</a:t>
            </a:r>
            <a:br>
              <a:rPr lang="de-DE" sz="2800" b="0" dirty="0"/>
            </a:b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5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149A9D2-823C-2959-6654-07D87DE3C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929694"/>
            <a:ext cx="8370000" cy="3211650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b="0" dirty="0"/>
              <a:t>Liberale Wohlfahrtsstaat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b="0" dirty="0"/>
              <a:t>Beispiel: USA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b="0" dirty="0"/>
              <a:t>Wenig Staatliche Eingriffe in der Sozialpolitik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b="0" dirty="0"/>
              <a:t>Zentral für Wohlstandproduktion: </a:t>
            </a:r>
            <a:r>
              <a:rPr lang="de-DE" sz="2000" dirty="0"/>
              <a:t>Markt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dirty="0"/>
              <a:t>Niedrige Dekommodifizierung</a:t>
            </a:r>
            <a:r>
              <a:rPr lang="de-DE" sz="2000" b="0" dirty="0"/>
              <a:t>:</a:t>
            </a:r>
            <a:r>
              <a:rPr lang="de-DE" sz="2000" b="0" dirty="0">
                <a:sym typeface="Wingdings" panose="05000000000000000000" pitchFamily="2" charset="2"/>
              </a:rPr>
              <a:t> </a:t>
            </a:r>
            <a:r>
              <a:rPr lang="de-DE" sz="2000" b="0" dirty="0"/>
              <a:t>Lebensstandards stark Abhängig von Arbeitsmarktsituatio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b="0" dirty="0">
                <a:sym typeface="Wingdings" panose="05000000000000000000" pitchFamily="2" charset="2"/>
              </a:rPr>
              <a:t> Nur </a:t>
            </a:r>
            <a:r>
              <a:rPr lang="de-DE" sz="2000" dirty="0">
                <a:sym typeface="Wingdings" panose="05000000000000000000" pitchFamily="2" charset="2"/>
              </a:rPr>
              <a:t>geringe Ansprüche </a:t>
            </a:r>
            <a:r>
              <a:rPr lang="de-DE" sz="2000" b="0" dirty="0">
                <a:sym typeface="Wingdings" panose="05000000000000000000" pitchFamily="2" charset="2"/>
              </a:rPr>
              <a:t>auf Sicherungsleistungen (oft individuelle Bedürftigkeitsprüfung)</a:t>
            </a:r>
            <a:endParaRPr lang="de-DE" sz="2000" b="0" dirty="0"/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dirty="0"/>
              <a:t>Stratifizierung</a:t>
            </a:r>
            <a:r>
              <a:rPr lang="de-DE" sz="2000" b="0" dirty="0"/>
              <a:t>:</a:t>
            </a:r>
            <a:r>
              <a:rPr lang="de-DE" sz="2000" b="0" dirty="0">
                <a:sym typeface="Wingdings" panose="05000000000000000000" pitchFamily="2" charset="2"/>
              </a:rPr>
              <a:t> bestehende </a:t>
            </a:r>
            <a:r>
              <a:rPr lang="de-DE" sz="2000" dirty="0"/>
              <a:t>Unterschiede</a:t>
            </a:r>
            <a:r>
              <a:rPr lang="de-DE" sz="2000" b="0" dirty="0"/>
              <a:t> werden </a:t>
            </a:r>
            <a:r>
              <a:rPr lang="de-DE" sz="2000" dirty="0"/>
              <a:t>verschärf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000" b="0" dirty="0"/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2000" b="0" dirty="0"/>
          </a:p>
        </p:txBody>
      </p:sp>
    </p:spTree>
    <p:extLst>
      <p:ext uri="{BB962C8B-B14F-4D97-AF65-F5344CB8AC3E}">
        <p14:creationId xmlns:p14="http://schemas.microsoft.com/office/powerpoint/2010/main" val="40625641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462" y="283500"/>
            <a:ext cx="8784520" cy="468000"/>
          </a:xfrm>
        </p:spPr>
        <p:txBody>
          <a:bodyPr/>
          <a:lstStyle/>
          <a:p>
            <a:r>
              <a:rPr lang="de-DE" sz="2800" b="0" dirty="0"/>
              <a:t>Wohlfahrtsstaat-Typen:</a:t>
            </a:r>
            <a:br>
              <a:rPr lang="de-DE" sz="2800" b="0" dirty="0"/>
            </a:b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6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149A9D2-823C-2959-6654-07D87DE3C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939564"/>
            <a:ext cx="8370000" cy="407047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b="0" dirty="0"/>
              <a:t>Konservative Wohlfahrtsstaaten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b="0" dirty="0"/>
              <a:t>Beispiel: Deutschland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b="0" dirty="0"/>
              <a:t>Mittelgroße sozialpolitische Aktivitäten des Staates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b="0" dirty="0"/>
              <a:t>Zentral für Wohlstandproduktion: </a:t>
            </a:r>
            <a:r>
              <a:rPr lang="de-DE" sz="2000" dirty="0"/>
              <a:t>Familie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dirty="0"/>
              <a:t>(Nur) mittlere Dekommodifizierung: </a:t>
            </a:r>
            <a:r>
              <a:rPr lang="de-DE" sz="2000" b="0" dirty="0"/>
              <a:t>jedoch </a:t>
            </a:r>
            <a:r>
              <a:rPr lang="de-DE" sz="2000" dirty="0"/>
              <a:t>hoher Schutz </a:t>
            </a:r>
            <a:r>
              <a:rPr lang="de-DE" sz="2000" b="0" dirty="0"/>
              <a:t>gegen </a:t>
            </a:r>
            <a:r>
              <a:rPr lang="de-DE" sz="2000" dirty="0"/>
              <a:t>Marktkräfte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b="0" dirty="0">
                <a:sym typeface="Wingdings" panose="05000000000000000000" pitchFamily="2" charset="2"/>
              </a:rPr>
              <a:t> </a:t>
            </a:r>
            <a:r>
              <a:rPr lang="de-DE" sz="2000" dirty="0">
                <a:sym typeface="Wingdings" panose="05000000000000000000" pitchFamily="2" charset="2"/>
              </a:rPr>
              <a:t>Leistungen</a:t>
            </a:r>
            <a:r>
              <a:rPr lang="de-DE" sz="2000" b="0" dirty="0">
                <a:sym typeface="Wingdings" panose="05000000000000000000" pitchFamily="2" charset="2"/>
              </a:rPr>
              <a:t> oft </a:t>
            </a:r>
            <a:r>
              <a:rPr lang="de-DE" sz="2000" dirty="0">
                <a:sym typeface="Wingdings" panose="05000000000000000000" pitchFamily="2" charset="2"/>
              </a:rPr>
              <a:t>anhand</a:t>
            </a:r>
            <a:r>
              <a:rPr lang="de-DE" sz="2000" b="0" dirty="0">
                <a:sym typeface="Wingdings" panose="05000000000000000000" pitchFamily="2" charset="2"/>
              </a:rPr>
              <a:t> der </a:t>
            </a:r>
            <a:r>
              <a:rPr lang="de-DE" sz="2000" dirty="0">
                <a:sym typeface="Wingdings" panose="05000000000000000000" pitchFamily="2" charset="2"/>
              </a:rPr>
              <a:t>Beitragshöhe</a:t>
            </a:r>
            <a:r>
              <a:rPr lang="de-DE" sz="2000" b="0" dirty="0">
                <a:sym typeface="Wingdings" panose="05000000000000000000" pitchFamily="2" charset="2"/>
              </a:rPr>
              <a:t> bemessen</a:t>
            </a:r>
            <a:endParaRPr lang="de-DE" sz="2000" b="0" dirty="0"/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b="0" dirty="0"/>
              <a:t>Stratifizierung:</a:t>
            </a:r>
            <a:r>
              <a:rPr lang="de-DE" sz="2000" b="0" dirty="0">
                <a:sym typeface="Wingdings" panose="05000000000000000000" pitchFamily="2" charset="2"/>
              </a:rPr>
              <a:t> </a:t>
            </a:r>
            <a:r>
              <a:rPr lang="de-DE" sz="2000" dirty="0">
                <a:sym typeface="Wingdings" panose="05000000000000000000" pitchFamily="2" charset="2"/>
              </a:rPr>
              <a:t>V</a:t>
            </a:r>
            <a:r>
              <a:rPr lang="de-DE" sz="2000" dirty="0"/>
              <a:t>erfestigung</a:t>
            </a:r>
            <a:r>
              <a:rPr lang="de-DE" sz="2000" b="0" dirty="0"/>
              <a:t> von</a:t>
            </a:r>
            <a:r>
              <a:rPr lang="de-DE" sz="2000" b="0" dirty="0">
                <a:sym typeface="Wingdings" panose="05000000000000000000" pitchFamily="2" charset="2"/>
              </a:rPr>
              <a:t> </a:t>
            </a:r>
            <a:r>
              <a:rPr lang="de-DE" sz="2000" dirty="0">
                <a:sym typeface="Wingdings" panose="05000000000000000000" pitchFamily="2" charset="2"/>
              </a:rPr>
              <a:t>Statusu</a:t>
            </a:r>
            <a:r>
              <a:rPr lang="de-DE" sz="2000" dirty="0"/>
              <a:t>nterschiede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20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000" b="0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47BBB52-7E9D-A49E-9891-65369F9E56AB}"/>
              </a:ext>
            </a:extLst>
          </p:cNvPr>
          <p:cNvSpPr/>
          <p:nvPr/>
        </p:nvSpPr>
        <p:spPr>
          <a:xfrm>
            <a:off x="4445152" y="804207"/>
            <a:ext cx="2027914" cy="468000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400" b="1" dirty="0"/>
              <a:t>Sicherheit</a:t>
            </a:r>
          </a:p>
        </p:txBody>
      </p:sp>
    </p:spTree>
    <p:extLst>
      <p:ext uri="{BB962C8B-B14F-4D97-AF65-F5344CB8AC3E}">
        <p14:creationId xmlns:p14="http://schemas.microsoft.com/office/powerpoint/2010/main" val="4188145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462" y="283500"/>
            <a:ext cx="8784520" cy="468000"/>
          </a:xfrm>
        </p:spPr>
        <p:txBody>
          <a:bodyPr/>
          <a:lstStyle/>
          <a:p>
            <a:r>
              <a:rPr lang="de-DE" sz="2800" b="0" dirty="0"/>
              <a:t>Wohlfahrtsstaat-Typen:</a:t>
            </a:r>
            <a:br>
              <a:rPr lang="de-DE" sz="2800" b="0" dirty="0"/>
            </a:b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7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149A9D2-823C-2959-6654-07D87DE3C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918197"/>
            <a:ext cx="8528982" cy="3669777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b="0" dirty="0"/>
              <a:t>Sozialdemokratische Wohlfahrtsstaat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b="0" dirty="0"/>
              <a:t>Beispiel: Schweden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b="0" dirty="0"/>
              <a:t>Zentral für Wohlstandproduktion: </a:t>
            </a:r>
            <a:r>
              <a:rPr lang="de-DE" sz="2000" dirty="0"/>
              <a:t>Staat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dirty="0"/>
              <a:t>Hohe Dekommodifizierung</a:t>
            </a:r>
            <a:r>
              <a:rPr lang="de-DE" sz="2000" b="0" dirty="0"/>
              <a:t>:</a:t>
            </a:r>
            <a:r>
              <a:rPr lang="de-DE" sz="2000" b="0" dirty="0">
                <a:sym typeface="Wingdings" panose="05000000000000000000" pitchFamily="2" charset="2"/>
              </a:rPr>
              <a:t> </a:t>
            </a:r>
            <a:r>
              <a:rPr lang="de-DE" sz="2000" b="0" dirty="0"/>
              <a:t>gute Lebensstandards unabhängig von Arbeitsmarktsituation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à"/>
            </a:pPr>
            <a:r>
              <a:rPr lang="de-DE" sz="2000" b="0" dirty="0">
                <a:sym typeface="Wingdings" panose="05000000000000000000" pitchFamily="2" charset="2"/>
              </a:rPr>
              <a:t>Extensive Daseinsversorgung </a:t>
            </a:r>
            <a:r>
              <a:rPr lang="de-DE" sz="2000" dirty="0">
                <a:sym typeface="Wingdings" panose="05000000000000000000" pitchFamily="2" charset="2"/>
              </a:rPr>
              <a:t>universale Leistungen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à"/>
            </a:pPr>
            <a:r>
              <a:rPr lang="de-DE" sz="2000" dirty="0">
                <a:sym typeface="Wingdings" panose="05000000000000000000" pitchFamily="2" charset="2"/>
              </a:rPr>
              <a:t>Beträge</a:t>
            </a:r>
            <a:r>
              <a:rPr lang="de-DE" sz="2000" b="0" dirty="0">
                <a:sym typeface="Wingdings" panose="05000000000000000000" pitchFamily="2" charset="2"/>
              </a:rPr>
              <a:t> die unabhängig von zuvor gezielten Leistungen erfolgen, sondern </a:t>
            </a:r>
            <a:r>
              <a:rPr lang="de-DE" sz="2000" dirty="0">
                <a:sym typeface="Wingdings" panose="05000000000000000000" pitchFamily="2" charset="2"/>
              </a:rPr>
              <a:t>nach Standards</a:t>
            </a:r>
            <a:endParaRPr lang="de-DE" sz="2000" dirty="0"/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b="0" dirty="0"/>
              <a:t>Stratifizierung:</a:t>
            </a:r>
            <a:r>
              <a:rPr lang="de-DE" sz="2000" b="0" dirty="0">
                <a:sym typeface="Wingdings" panose="05000000000000000000" pitchFamily="2" charset="2"/>
              </a:rPr>
              <a:t> </a:t>
            </a:r>
            <a:r>
              <a:rPr lang="de-DE" sz="2000" dirty="0"/>
              <a:t>Hohe Umverteilung</a:t>
            </a:r>
            <a:r>
              <a:rPr lang="de-DE" sz="2000" b="0" dirty="0"/>
              <a:t>,</a:t>
            </a:r>
            <a:r>
              <a:rPr lang="de-DE" sz="2000" b="0" dirty="0">
                <a:sym typeface="Wingdings" panose="05000000000000000000" pitchFamily="2" charset="2"/>
              </a:rPr>
              <a:t> Abbau </a:t>
            </a:r>
            <a:r>
              <a:rPr lang="de-DE" sz="2000" b="0" dirty="0"/>
              <a:t>Unterschieden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BAAC011F-7DA8-353F-6E61-48A483728CE9}"/>
              </a:ext>
            </a:extLst>
          </p:cNvPr>
          <p:cNvSpPr/>
          <p:nvPr/>
        </p:nvSpPr>
        <p:spPr>
          <a:xfrm>
            <a:off x="4860032" y="796521"/>
            <a:ext cx="2027914" cy="468000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400" b="1" dirty="0"/>
              <a:t>Gleichheit</a:t>
            </a:r>
          </a:p>
        </p:txBody>
      </p:sp>
    </p:spTree>
    <p:extLst>
      <p:ext uri="{BB962C8B-B14F-4D97-AF65-F5344CB8AC3E}">
        <p14:creationId xmlns:p14="http://schemas.microsoft.com/office/powerpoint/2010/main" val="2232200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462" y="283500"/>
            <a:ext cx="8784520" cy="468000"/>
          </a:xfrm>
        </p:spPr>
        <p:txBody>
          <a:bodyPr/>
          <a:lstStyle/>
          <a:p>
            <a:r>
              <a:rPr lang="de-DE" sz="2800" dirty="0"/>
              <a:t>Historische Verortung</a:t>
            </a:r>
            <a:r>
              <a:rPr lang="de-DE" sz="2800" b="0" dirty="0"/>
              <a:t>: Moderne</a:t>
            </a:r>
            <a:br>
              <a:rPr lang="de-DE" sz="2800" b="0" dirty="0"/>
            </a:b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8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149A9D2-823C-2959-6654-07D87DE3C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915566"/>
            <a:ext cx="8370000" cy="3265642"/>
          </a:xfrm>
        </p:spPr>
        <p:txBody>
          <a:bodyPr/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b="0" dirty="0"/>
              <a:t>Kein eindeutiger Beginn, vielmehr idealtypisches Epochenschema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b="0" dirty="0">
                <a:sym typeface="Wingdings" panose="05000000000000000000" pitchFamily="2" charset="2"/>
              </a:rPr>
              <a:t>Übergang Vormoderne zu Moderne um </a:t>
            </a:r>
            <a:r>
              <a:rPr lang="de-DE" sz="2000" dirty="0">
                <a:sym typeface="Wingdings" panose="05000000000000000000" pitchFamily="2" charset="2"/>
              </a:rPr>
              <a:t>1500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sym typeface="Wingdings" panose="05000000000000000000" pitchFamily="2" charset="2"/>
              </a:rPr>
              <a:t>1) Frühmoderne 16-18 Jhd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sym typeface="Wingdings" panose="05000000000000000000" pitchFamily="2" charset="2"/>
              </a:rPr>
              <a:t>2) Hochmoderne 19-20 Jhd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dirty="0">
                <a:sym typeface="Wingdings" panose="05000000000000000000" pitchFamily="2" charset="2"/>
              </a:rPr>
              <a:t>3) Spätmoderne ab 1970er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endParaRPr lang="de-DE" sz="18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altLang="de-DE" sz="18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e/Inwiefern lassen sich die drei historischen Phasen der Moderne voneinander unterscheiden?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000" b="0" dirty="0"/>
          </a:p>
        </p:txBody>
      </p:sp>
    </p:spTree>
    <p:extLst>
      <p:ext uri="{BB962C8B-B14F-4D97-AF65-F5344CB8AC3E}">
        <p14:creationId xmlns:p14="http://schemas.microsoft.com/office/powerpoint/2010/main" val="3858679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462" y="108758"/>
            <a:ext cx="8784520" cy="468000"/>
          </a:xfrm>
        </p:spPr>
        <p:txBody>
          <a:bodyPr/>
          <a:lstStyle/>
          <a:p>
            <a:r>
              <a:rPr lang="de-DE" sz="2800" dirty="0"/>
              <a:t>Historische Verortung</a:t>
            </a:r>
            <a:r>
              <a:rPr lang="de-DE" sz="2800" b="0" dirty="0"/>
              <a:t>: Moderne</a:t>
            </a:r>
            <a:br>
              <a:rPr lang="de-DE" sz="2800" b="0" dirty="0"/>
            </a:b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9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3" name="Tabelle 5">
            <a:extLst>
              <a:ext uri="{FF2B5EF4-FFF2-40B4-BE49-F238E27FC236}">
                <a16:creationId xmlns:a16="http://schemas.microsoft.com/office/drawing/2014/main" id="{B4FA681A-BD00-DE8E-EC34-6AE8FDDAFD6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13109513"/>
              </p:ext>
            </p:extLst>
          </p:nvPr>
        </p:nvGraphicFramePr>
        <p:xfrm>
          <a:off x="0" y="565107"/>
          <a:ext cx="9144000" cy="40970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9792">
                  <a:extLst>
                    <a:ext uri="{9D8B030D-6E8A-4147-A177-3AD203B41FA5}">
                      <a16:colId xmlns:a16="http://schemas.microsoft.com/office/drawing/2014/main" val="1513174235"/>
                    </a:ext>
                  </a:extLst>
                </a:gridCol>
                <a:gridCol w="3168352">
                  <a:extLst>
                    <a:ext uri="{9D8B030D-6E8A-4147-A177-3AD203B41FA5}">
                      <a16:colId xmlns:a16="http://schemas.microsoft.com/office/drawing/2014/main" val="1882802984"/>
                    </a:ext>
                  </a:extLst>
                </a:gridCol>
                <a:gridCol w="3275856">
                  <a:extLst>
                    <a:ext uri="{9D8B030D-6E8A-4147-A177-3AD203B41FA5}">
                      <a16:colId xmlns:a16="http://schemas.microsoft.com/office/drawing/2014/main" val="10516572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Courier New" panose="02070309020205020404" pitchFamily="49" charset="0"/>
                        <a:buNone/>
                      </a:pPr>
                      <a:r>
                        <a:rPr lang="de-DE" sz="1400" dirty="0">
                          <a:sym typeface="Wingdings" panose="05000000000000000000" pitchFamily="2" charset="2"/>
                        </a:rPr>
                        <a:t>Frühmoderne 16-18 Jhd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Courier New" panose="02070309020205020404" pitchFamily="49" charset="0"/>
                        <a:buNone/>
                      </a:pPr>
                      <a:r>
                        <a:rPr lang="de-DE" sz="1400" b="1" dirty="0">
                          <a:sym typeface="Wingdings" panose="05000000000000000000" pitchFamily="2" charset="2"/>
                        </a:rPr>
                        <a:t>Hochmoderne 19-20 Jhd</a:t>
                      </a:r>
                      <a:r>
                        <a:rPr lang="de-DE" sz="1200" b="1" dirty="0"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ym typeface="Wingdings" panose="05000000000000000000" pitchFamily="2" charset="2"/>
                        </a:rPr>
                        <a:t>Spätmoderne ab 1970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45708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b="1" dirty="0"/>
                    </a:p>
                    <a:p>
                      <a:endParaRPr lang="de-DE" b="1" dirty="0"/>
                    </a:p>
                    <a:p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52828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61329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1678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268145"/>
                  </a:ext>
                </a:extLst>
              </a:tr>
              <a:tr h="426495"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9255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88439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3594342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4DD2C2E6-8D7F-9861-3DC8-0606D8B98A6B}"/>
              </a:ext>
            </a:extLst>
          </p:cNvPr>
          <p:cNvSpPr txBox="1"/>
          <p:nvPr/>
        </p:nvSpPr>
        <p:spPr>
          <a:xfrm>
            <a:off x="-50096" y="921910"/>
            <a:ext cx="2889355" cy="3500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Gesellschaftsentwicklung mit Einschnitten</a:t>
            </a: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de-DE" sz="1600" i="0" u="none" strike="noStrike" kern="1200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strike="noStrike" kern="1200" dirty="0">
                <a:effectLst/>
                <a:latin typeface="Arial" panose="020B0604020202020204" pitchFamily="34" charset="0"/>
              </a:rPr>
              <a:t>Frühkapitalistische Wirtschaftsstrukturen</a:t>
            </a:r>
            <a:endParaRPr lang="de-DE" sz="1600" b="1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Entstehung des frühmodernen Staates </a:t>
            </a: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Reformation</a:t>
            </a: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Bevölkerungswachstums</a:t>
            </a: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Europa &amp; Entdeckungsreisen </a:t>
            </a:r>
            <a:endParaRPr lang="de-DE" sz="1600" dirty="0"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strike="noStrike" kern="1200" dirty="0">
                <a:effectLst/>
                <a:latin typeface="Arial" panose="020B0604020202020204" pitchFamily="34" charset="0"/>
              </a:rPr>
              <a:t>Neue Wissenschaftstechniken</a:t>
            </a:r>
            <a:endParaRPr lang="de-DE" sz="1600" b="1" i="0" u="none" strike="noStrike" dirty="0">
              <a:effectLst/>
              <a:latin typeface="Arial" panose="020B0604020202020204" pitchFamily="34" charset="0"/>
            </a:endParaRPr>
          </a:p>
          <a:p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4BD359E-0ACB-347A-5121-9EF8ACD2339B}"/>
              </a:ext>
            </a:extLst>
          </p:cNvPr>
          <p:cNvSpPr txBox="1"/>
          <p:nvPr/>
        </p:nvSpPr>
        <p:spPr>
          <a:xfrm>
            <a:off x="2650815" y="1112820"/>
            <a:ext cx="3504871" cy="37317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= Langes 19 Jhd. (1789-1914)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de-DE" sz="1600" i="0" u="none" strike="noStrike" kern="1200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Von Französischer Revolution </a:t>
            </a: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bis Beginn 1 Weltkrieg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„Entdeckung der Geschichte“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auch „Blick in offene Zukunft“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marR="0" indent="0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de-DE" sz="1600" b="1" i="0" u="none" strike="noStrike" kern="1200" dirty="0">
              <a:effectLst/>
              <a:latin typeface="Arial" panose="020B0604020202020204" pitchFamily="34" charset="0"/>
            </a:endParaRPr>
          </a:p>
          <a:p>
            <a:pPr marL="0" marR="0" indent="0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strike="noStrike" kern="1200" dirty="0">
                <a:effectLst/>
                <a:latin typeface="Arial" panose="020B0604020202020204" pitchFamily="34" charset="0"/>
              </a:rPr>
              <a:t>Tiefgreifende Industrialisierung</a:t>
            </a:r>
            <a:endParaRPr lang="de-DE" sz="1600" i="0" u="none" strike="noStrike" kern="1200" dirty="0">
              <a:effectLst/>
              <a:latin typeface="Arial" panose="020B0604020202020204" pitchFamily="34" charset="0"/>
            </a:endParaRPr>
          </a:p>
          <a:p>
            <a:pPr marL="0" marR="0" indent="0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Abschied Agrarwirtschaft 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Rationalisierung &amp; </a:t>
            </a:r>
            <a:r>
              <a:rPr lang="de-DE" sz="1600" i="0" u="none" strike="noStrike" kern="1200" dirty="0" err="1">
                <a:effectLst/>
                <a:latin typeface="Arial" panose="020B0604020202020204" pitchFamily="34" charset="0"/>
              </a:rPr>
              <a:t>wirt</a:t>
            </a: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. Wachstum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de-DE" sz="1600" i="0" u="none" strike="noStrike" kern="1200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500" b="1" i="0" u="none" strike="noStrike" kern="1200" dirty="0">
                <a:effectLst/>
                <a:latin typeface="Arial" panose="020B0604020202020204" pitchFamily="34" charset="0"/>
              </a:rPr>
              <a:t>Ungebremstes Fortschrittsdenken</a:t>
            </a:r>
            <a:endParaRPr lang="de-DE" sz="1500" b="1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de-DE" sz="1600" i="0" u="none" strike="noStrike" kern="1200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Nationalstaatsbildung 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62F81BF-8EFA-F236-284D-BBA97AA44F9A}"/>
              </a:ext>
            </a:extLst>
          </p:cNvPr>
          <p:cNvSpPr txBox="1"/>
          <p:nvPr/>
        </p:nvSpPr>
        <p:spPr>
          <a:xfrm>
            <a:off x="5796136" y="921910"/>
            <a:ext cx="3621286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Bewältigung zweier Weltkriege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= Differenzierung, Individualisierung und Wachstum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de-DE" sz="1600" i="0" u="none" strike="noStrike" kern="1200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Technisierung des Alltags 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de-DE" sz="1600" i="0" u="none" strike="noStrike" kern="1200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Soziale Absicherung Bevölkerung 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de-DE" sz="1600" i="0" u="none" strike="noStrike" kern="1200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Förderung „Wohlstand für alle“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de-DE" sz="1600" i="0" u="none" strike="noStrike" kern="1200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500" b="1" i="0" u="none" strike="noStrike" kern="1200" dirty="0">
                <a:effectLst/>
                <a:latin typeface="Arial" panose="020B0604020202020204" pitchFamily="34" charset="0"/>
              </a:rPr>
              <a:t>Aufstieg zum Dienstleistungssektor</a:t>
            </a:r>
            <a:endParaRPr lang="de-DE" sz="1500" b="1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Bildungsexpansion</a:t>
            </a: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500" b="1" i="0" u="none" strike="noStrike" kern="1200" dirty="0">
                <a:effectLst/>
                <a:latin typeface="Arial" panose="020B0604020202020204" pitchFamily="34" charset="0"/>
              </a:rPr>
              <a:t>Fortschrittskritik</a:t>
            </a: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 (Grenzen des Wachstums/</a:t>
            </a:r>
            <a:r>
              <a:rPr lang="de-DE" sz="1600" dirty="0">
                <a:latin typeface="Arial" panose="020B0604020202020204" pitchFamily="34" charset="0"/>
              </a:rPr>
              <a:t>K</a:t>
            </a: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risen/Ressourcen)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CA4D823-A98B-E7D4-CC8B-B472B7BF6C56}"/>
              </a:ext>
            </a:extLst>
          </p:cNvPr>
          <p:cNvSpPr txBox="1"/>
          <p:nvPr/>
        </p:nvSpPr>
        <p:spPr>
          <a:xfrm>
            <a:off x="8803732" y="4613500"/>
            <a:ext cx="5149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Etc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55863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cae5b4-0b45-41e0-b5e6-32c713f6a487"/>
  <p:tag name="MIO_EKGUID" val="d6d8f022-aea9-4976-9c74-231287008c88"/>
  <p:tag name="MIO_UPDATE" val="True"/>
  <p:tag name="MIO_VERSION" val="26.10.2018 15:45:09"/>
  <p:tag name="MIO_DBID" val="364BA404-45B5-45E1-875B-889C83467CBF"/>
  <p:tag name="MIO_LASTDOWNLOADED" val="26.10.2018 15:45:09"/>
  <p:tag name="MIO_OBJECTNAME" val="ADAPTION – Migration zum Cyber-physischen PRODUKTIONSSYSTEM"/>
  <p:tag name="MIO_LASTEDITORNAME" val="Stefan Leineweber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PowerPoint Master RUB">
  <a:themeElements>
    <a:clrScheme name="RUB">
      <a:dk1>
        <a:sysClr val="windowText" lastClr="000000"/>
      </a:dk1>
      <a:lt1>
        <a:sysClr val="window" lastClr="FFFFFF"/>
      </a:lt1>
      <a:dk2>
        <a:srgbClr val="003560"/>
      </a:dk2>
      <a:lt2>
        <a:srgbClr val="8DAE10"/>
      </a:lt2>
      <a:accent1>
        <a:srgbClr val="FFCC00"/>
      </a:accent1>
      <a:accent2>
        <a:srgbClr val="EE7203"/>
      </a:accent2>
      <a:accent3>
        <a:srgbClr val="E6332A"/>
      </a:accent3>
      <a:accent4>
        <a:srgbClr val="B71E3F"/>
      </a:accent4>
      <a:accent5>
        <a:srgbClr val="9C5516"/>
      </a:accent5>
      <a:accent6>
        <a:srgbClr val="59211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RUB_03a.potx" id="{C867D821-36E8-4CDA-B68D-4949E463F39D}" vid="{F84F8B3F-9528-42A9-B5AE-3004D54145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86</Words>
  <Application>Microsoft Office PowerPoint</Application>
  <PresentationFormat>Bildschirmpräsentation (16:9)</PresentationFormat>
  <Paragraphs>266</Paragraphs>
  <Slides>19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5" baseType="lpstr">
      <vt:lpstr>Arial</vt:lpstr>
      <vt:lpstr>Calibri</vt:lpstr>
      <vt:lpstr>Calibri-Bold</vt:lpstr>
      <vt:lpstr>Courier New</vt:lpstr>
      <vt:lpstr>Wingdings</vt:lpstr>
      <vt:lpstr>PowerPoint Master RUB</vt:lpstr>
      <vt:lpstr>Tutorium zur VL. Sitzung (1) und (2) </vt:lpstr>
      <vt:lpstr>Staatsform moderne Gesellschaft</vt:lpstr>
      <vt:lpstr>Bedeutung Wohlfahrtsstaat</vt:lpstr>
      <vt:lpstr>Wohlfahrtsstaat-Typen: nach Esping-Anderson (1998) </vt:lpstr>
      <vt:lpstr>Wohlfahrtsstaat-Typen: </vt:lpstr>
      <vt:lpstr>Wohlfahrtsstaat-Typen: </vt:lpstr>
      <vt:lpstr>Wohlfahrtsstaat-Typen: </vt:lpstr>
      <vt:lpstr>Historische Verortung: Moderne </vt:lpstr>
      <vt:lpstr>Historische Verortung: Moderne </vt:lpstr>
      <vt:lpstr>Räumliche Verortung: Moderne </vt:lpstr>
      <vt:lpstr>Verortung der Moderne: </vt:lpstr>
      <vt:lpstr>Zur (2) VL.- Sozialstruktur und Arbeit der Sozialstrukturanalyse</vt:lpstr>
      <vt:lpstr>Definition Sozialstrukturanalyse:</vt:lpstr>
      <vt:lpstr>Allumfassenheit der Sozialstrukturanalyse:</vt:lpstr>
      <vt:lpstr>Datenarten und Datenquellen:</vt:lpstr>
      <vt:lpstr>Datenquellen:</vt:lpstr>
      <vt:lpstr>Lernziele: zweite Sitzung I VL. (1) und (2)</vt:lpstr>
      <vt:lpstr>Ausblick: nächste Sitzung </vt:lpstr>
      <vt:lpstr>Weitere Übungsfragen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ozialwissenschaft</dc:title>
  <dc:creator>vanessa rau</dc:creator>
  <cp:lastModifiedBy>Stina Ru</cp:lastModifiedBy>
  <cp:revision>47</cp:revision>
  <dcterms:created xsi:type="dcterms:W3CDTF">2020-06-22T16:14:58Z</dcterms:created>
  <dcterms:modified xsi:type="dcterms:W3CDTF">2022-10-26T18:46:25Z</dcterms:modified>
</cp:coreProperties>
</file>